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8.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43"/>
  </p:notesMasterIdLst>
  <p:handoutMasterIdLst>
    <p:handoutMasterId r:id="rId44"/>
  </p:handoutMasterIdLst>
  <p:sldIdLst>
    <p:sldId id="455" r:id="rId3"/>
    <p:sldId id="2147473530" r:id="rId4"/>
    <p:sldId id="2147473892" r:id="rId5"/>
    <p:sldId id="2147473839" r:id="rId6"/>
    <p:sldId id="2147473856" r:id="rId7"/>
    <p:sldId id="2147473729" r:id="rId8"/>
    <p:sldId id="2147473727" r:id="rId9"/>
    <p:sldId id="2147473736" r:id="rId10"/>
    <p:sldId id="2147473664" r:id="rId11"/>
    <p:sldId id="2147473737" r:id="rId12"/>
    <p:sldId id="2147473804" r:id="rId13"/>
    <p:sldId id="2147473749" r:id="rId14"/>
    <p:sldId id="2147473681" r:id="rId15"/>
    <p:sldId id="2147473851" r:id="rId16"/>
    <p:sldId id="2147473797" r:id="rId17"/>
    <p:sldId id="2147473798" r:id="rId18"/>
    <p:sldId id="2147473800" r:id="rId19"/>
    <p:sldId id="2147473854" r:id="rId20"/>
    <p:sldId id="2147473792" r:id="rId21"/>
    <p:sldId id="2147473733" r:id="rId22"/>
    <p:sldId id="2147473897" r:id="rId23"/>
    <p:sldId id="2147473858" r:id="rId24"/>
    <p:sldId id="2147473859" r:id="rId25"/>
    <p:sldId id="2147473545" r:id="rId26"/>
    <p:sldId id="2147473738" r:id="rId27"/>
    <p:sldId id="2147473711" r:id="rId28"/>
    <p:sldId id="541" r:id="rId29"/>
    <p:sldId id="2147473893" r:id="rId30"/>
    <p:sldId id="2147473768" r:id="rId31"/>
    <p:sldId id="2147473734" r:id="rId32"/>
    <p:sldId id="2147473896" r:id="rId33"/>
    <p:sldId id="2147473894" r:id="rId34"/>
    <p:sldId id="2147468741" r:id="rId35"/>
    <p:sldId id="2147473879" r:id="rId36"/>
    <p:sldId id="2147473476" r:id="rId37"/>
    <p:sldId id="2147473891" r:id="rId38"/>
    <p:sldId id="2147473873" r:id="rId39"/>
    <p:sldId id="2147473497" r:id="rId40"/>
    <p:sldId id="2147473881" r:id="rId41"/>
    <p:sldId id="2147473466" r:id="rId42"/>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23F85F-43A8-44B4-800E-9A4D16CE1CA4}" v="4451" dt="2023-07-26T03:28:02.5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62799" autoAdjust="0"/>
  </p:normalViewPr>
  <p:slideViewPr>
    <p:cSldViewPr snapToGrid="0">
      <p:cViewPr varScale="1">
        <p:scale>
          <a:sx n="114" d="100"/>
          <a:sy n="114" d="100"/>
        </p:scale>
        <p:origin x="534" y="10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209500A2-46D0-4A60-8122-7A5CF9743D09}"/>
    <pc:docChg chg="undo custSel addSld delSld modSld">
      <pc:chgData name="Tường SKHĐT" userId="ab9568c39a88b08a" providerId="LiveId" clId="{209500A2-46D0-4A60-8122-7A5CF9743D09}" dt="2023-05-26T08:45:26.580" v="1020" actId="2696"/>
      <pc:docMkLst>
        <pc:docMk/>
      </pc:docMkLst>
      <pc:sldChg chg="modSp mod">
        <pc:chgData name="Tường SKHĐT" userId="ab9568c39a88b08a" providerId="LiveId" clId="{209500A2-46D0-4A60-8122-7A5CF9743D09}" dt="2023-05-26T08:26:37.828" v="715" actId="20577"/>
        <pc:sldMkLst>
          <pc:docMk/>
          <pc:sldMk cId="2056297670" sldId="296"/>
        </pc:sldMkLst>
        <pc:spChg chg="mod">
          <ac:chgData name="Tường SKHĐT" userId="ab9568c39a88b08a" providerId="LiveId" clId="{209500A2-46D0-4A60-8122-7A5CF9743D09}" dt="2023-05-26T04:29:36.828" v="112" actId="2711"/>
          <ac:spMkLst>
            <pc:docMk/>
            <pc:sldMk cId="2056297670" sldId="296"/>
            <ac:spMk id="3" creationId="{00000000-0000-0000-0000-000000000000}"/>
          </ac:spMkLst>
        </pc:spChg>
        <pc:spChg chg="mod">
          <ac:chgData name="Tường SKHĐT" userId="ab9568c39a88b08a" providerId="LiveId" clId="{209500A2-46D0-4A60-8122-7A5CF9743D09}" dt="2023-05-26T08:26:37.828" v="715" actId="20577"/>
          <ac:spMkLst>
            <pc:docMk/>
            <pc:sldMk cId="2056297670" sldId="296"/>
            <ac:spMk id="4" creationId="{8EFF4EA8-28C1-48CF-3ECE-7B6110C48EE1}"/>
          </ac:spMkLst>
        </pc:spChg>
        <pc:spChg chg="mod">
          <ac:chgData name="Tường SKHĐT" userId="ab9568c39a88b08a" providerId="LiveId" clId="{209500A2-46D0-4A60-8122-7A5CF9743D09}" dt="2023-05-26T08:20:00.344" v="691" actId="20577"/>
          <ac:spMkLst>
            <pc:docMk/>
            <pc:sldMk cId="2056297670" sldId="296"/>
            <ac:spMk id="5" creationId="{F53865BE-6EAA-9FED-752A-6D16ED8C7445}"/>
          </ac:spMkLst>
        </pc:spChg>
      </pc:sldChg>
      <pc:sldChg chg="modSp mod">
        <pc:chgData name="Tường SKHĐT" userId="ab9568c39a88b08a" providerId="LiveId" clId="{209500A2-46D0-4A60-8122-7A5CF9743D09}" dt="2023-05-26T08:26:34.669" v="712" actId="20577"/>
        <pc:sldMkLst>
          <pc:docMk/>
          <pc:sldMk cId="1167827339" sldId="312"/>
        </pc:sldMkLst>
        <pc:spChg chg="mod">
          <ac:chgData name="Tường SKHĐT" userId="ab9568c39a88b08a" providerId="LiveId" clId="{209500A2-46D0-4A60-8122-7A5CF9743D09}" dt="2023-05-26T08:06:07.240" v="356" actId="20577"/>
          <ac:spMkLst>
            <pc:docMk/>
            <pc:sldMk cId="1167827339" sldId="312"/>
            <ac:spMk id="4" creationId="{59D74D8D-0C56-A9C6-38A6-09BBBEF557F3}"/>
          </ac:spMkLst>
        </pc:spChg>
        <pc:spChg chg="mod">
          <ac:chgData name="Tường SKHĐT" userId="ab9568c39a88b08a" providerId="LiveId" clId="{209500A2-46D0-4A60-8122-7A5CF9743D09}" dt="2023-05-26T08:07:02.743" v="395" actId="403"/>
          <ac:spMkLst>
            <pc:docMk/>
            <pc:sldMk cId="1167827339" sldId="312"/>
            <ac:spMk id="6" creationId="{070843E9-E11E-EAA4-1CCE-869292A47699}"/>
          </ac:spMkLst>
        </pc:spChg>
        <pc:spChg chg="mod">
          <ac:chgData name="Tường SKHĐT" userId="ab9568c39a88b08a" providerId="LiveId" clId="{209500A2-46D0-4A60-8122-7A5CF9743D09}" dt="2023-05-26T08:06:19.434" v="372" actId="20577"/>
          <ac:spMkLst>
            <pc:docMk/>
            <pc:sldMk cId="1167827339" sldId="312"/>
            <ac:spMk id="14" creationId="{012FCB13-2966-655B-3E6B-26B89259D763}"/>
          </ac:spMkLst>
        </pc:spChg>
        <pc:spChg chg="mod">
          <ac:chgData name="Tường SKHĐT" userId="ab9568c39a88b08a" providerId="LiveId" clId="{209500A2-46D0-4A60-8122-7A5CF9743D09}" dt="2023-05-26T08:26:34.669" v="712" actId="20577"/>
          <ac:spMkLst>
            <pc:docMk/>
            <pc:sldMk cId="1167827339" sldId="312"/>
            <ac:spMk id="16" creationId="{B2AE0816-E3F0-2A38-A771-526A586C6492}"/>
          </ac:spMkLst>
        </pc:spChg>
        <pc:spChg chg="mod">
          <ac:chgData name="Tường SKHĐT" userId="ab9568c39a88b08a" providerId="LiveId" clId="{209500A2-46D0-4A60-8122-7A5CF9743D09}" dt="2023-05-26T08:20:03.248" v="692" actId="20577"/>
          <ac:spMkLst>
            <pc:docMk/>
            <pc:sldMk cId="1167827339" sldId="312"/>
            <ac:spMk id="17" creationId="{ABDAFB93-63EF-7B44-9F8D-34E91B303021}"/>
          </ac:spMkLst>
        </pc:spChg>
        <pc:spChg chg="mod">
          <ac:chgData name="Tường SKHĐT" userId="ab9568c39a88b08a" providerId="LiveId" clId="{209500A2-46D0-4A60-8122-7A5CF9743D09}" dt="2023-05-26T08:06:59" v="392" actId="403"/>
          <ac:spMkLst>
            <pc:docMk/>
            <pc:sldMk cId="1167827339" sldId="312"/>
            <ac:spMk id="28" creationId="{5BD82E29-7F38-7121-0BDE-4B57F6FB9C64}"/>
          </ac:spMkLst>
        </pc:spChg>
        <pc:spChg chg="mod">
          <ac:chgData name="Tường SKHĐT" userId="ab9568c39a88b08a" providerId="LiveId" clId="{209500A2-46D0-4A60-8122-7A5CF9743D09}" dt="2023-05-26T08:05:53.361" v="335" actId="20577"/>
          <ac:spMkLst>
            <pc:docMk/>
            <pc:sldMk cId="1167827339" sldId="312"/>
            <ac:spMk id="29" creationId="{87785BE8-8D2C-34AD-3528-6DEFFB1C2187}"/>
          </ac:spMkLst>
        </pc:spChg>
        <pc:spChg chg="mod">
          <ac:chgData name="Tường SKHĐT" userId="ab9568c39a88b08a" providerId="LiveId" clId="{209500A2-46D0-4A60-8122-7A5CF9743D09}" dt="2023-05-26T08:07:07.158" v="398" actId="403"/>
          <ac:spMkLst>
            <pc:docMk/>
            <pc:sldMk cId="1167827339" sldId="312"/>
            <ac:spMk id="32" creationId="{BA5DABAD-7DB7-85BC-1C62-09803A1F7DD6}"/>
          </ac:spMkLst>
        </pc:spChg>
        <pc:spChg chg="mod">
          <ac:chgData name="Tường SKHĐT" userId="ab9568c39a88b08a" providerId="LiveId" clId="{209500A2-46D0-4A60-8122-7A5CF9743D09}" dt="2023-05-26T08:06:54.077" v="389" actId="403"/>
          <ac:spMkLst>
            <pc:docMk/>
            <pc:sldMk cId="1167827339" sldId="312"/>
            <ac:spMk id="37" creationId="{AD8E6693-4876-0F97-216B-C82F5C0BBF88}"/>
          </ac:spMkLst>
        </pc:spChg>
        <pc:spChg chg="mod">
          <ac:chgData name="Tường SKHĐT" userId="ab9568c39a88b08a" providerId="LiveId" clId="{209500A2-46D0-4A60-8122-7A5CF9743D09}" dt="2023-05-26T08:05:31.528" v="314" actId="20577"/>
          <ac:spMkLst>
            <pc:docMk/>
            <pc:sldMk cId="1167827339" sldId="312"/>
            <ac:spMk id="39" creationId="{E730890D-28F6-AD79-64B4-53EDC9842AEC}"/>
          </ac:spMkLst>
        </pc:spChg>
      </pc:sldChg>
      <pc:sldChg chg="modSp mod">
        <pc:chgData name="Tường SKHĐT" userId="ab9568c39a88b08a" providerId="LiveId" clId="{209500A2-46D0-4A60-8122-7A5CF9743D09}" dt="2023-05-26T08:27:06.547" v="746" actId="20577"/>
        <pc:sldMkLst>
          <pc:docMk/>
          <pc:sldMk cId="3898226705" sldId="2147468741"/>
        </pc:sldMkLst>
        <pc:spChg chg="mod">
          <ac:chgData name="Tường SKHĐT" userId="ab9568c39a88b08a" providerId="LiveId" clId="{209500A2-46D0-4A60-8122-7A5CF9743D09}" dt="2023-05-26T08:27:06.547" v="746" actId="20577"/>
          <ac:spMkLst>
            <pc:docMk/>
            <pc:sldMk cId="3898226705" sldId="2147468741"/>
            <ac:spMk id="4" creationId="{A8ED73C0-6DEB-F036-A81D-A84B4FA62951}"/>
          </ac:spMkLst>
        </pc:spChg>
      </pc:sldChg>
      <pc:sldChg chg="del">
        <pc:chgData name="Tường SKHĐT" userId="ab9568c39a88b08a" providerId="LiveId" clId="{209500A2-46D0-4A60-8122-7A5CF9743D09}" dt="2023-05-26T04:29:20.986" v="110" actId="2696"/>
        <pc:sldMkLst>
          <pc:docMk/>
          <pc:sldMk cId="2957479116" sldId="2147473519"/>
        </pc:sldMkLst>
      </pc:sldChg>
      <pc:sldChg chg="delSp modSp mod">
        <pc:chgData name="Tường SKHĐT" userId="ab9568c39a88b08a" providerId="LiveId" clId="{209500A2-46D0-4A60-8122-7A5CF9743D09}" dt="2023-05-26T08:20:22.952" v="706" actId="20577"/>
        <pc:sldMkLst>
          <pc:docMk/>
          <pc:sldMk cId="2307671257" sldId="2147473521"/>
        </pc:sldMkLst>
        <pc:spChg chg="del">
          <ac:chgData name="Tường SKHĐT" userId="ab9568c39a88b08a" providerId="LiveId" clId="{209500A2-46D0-4A60-8122-7A5CF9743D09}" dt="2023-05-26T08:07:55.268" v="406" actId="21"/>
          <ac:spMkLst>
            <pc:docMk/>
            <pc:sldMk cId="2307671257" sldId="2147473521"/>
            <ac:spMk id="4" creationId="{ADE6BF35-16A7-A743-965C-BA2A5B5DBD6A}"/>
          </ac:spMkLst>
        </pc:spChg>
        <pc:spChg chg="mod">
          <ac:chgData name="Tường SKHĐT" userId="ab9568c39a88b08a" providerId="LiveId" clId="{209500A2-46D0-4A60-8122-7A5CF9743D09}" dt="2023-05-26T08:20:22.952" v="706" actId="20577"/>
          <ac:spMkLst>
            <pc:docMk/>
            <pc:sldMk cId="2307671257" sldId="2147473521"/>
            <ac:spMk id="25" creationId="{01DC26C3-E6F4-C27A-8624-3A65D81B6008}"/>
          </ac:spMkLst>
        </pc:spChg>
      </pc:sldChg>
      <pc:sldChg chg="delSp modSp mod">
        <pc:chgData name="Tường SKHĐT" userId="ab9568c39a88b08a" providerId="LiveId" clId="{209500A2-46D0-4A60-8122-7A5CF9743D09}" dt="2023-05-26T08:20:28.238" v="708" actId="20577"/>
        <pc:sldMkLst>
          <pc:docMk/>
          <pc:sldMk cId="2802465441" sldId="2147473522"/>
        </pc:sldMkLst>
        <pc:spChg chg="del">
          <ac:chgData name="Tường SKHĐT" userId="ab9568c39a88b08a" providerId="LiveId" clId="{209500A2-46D0-4A60-8122-7A5CF9743D09}" dt="2023-05-26T08:07:47.738" v="404" actId="21"/>
          <ac:spMkLst>
            <pc:docMk/>
            <pc:sldMk cId="2802465441" sldId="2147473522"/>
            <ac:spMk id="4" creationId="{E8DDE1F8-4CE2-58DF-A7B4-A77D18CA9FEB}"/>
          </ac:spMkLst>
        </pc:spChg>
        <pc:spChg chg="mod">
          <ac:chgData name="Tường SKHĐT" userId="ab9568c39a88b08a" providerId="LiveId" clId="{209500A2-46D0-4A60-8122-7A5CF9743D09}" dt="2023-05-26T08:20:28.238" v="708" actId="20577"/>
          <ac:spMkLst>
            <pc:docMk/>
            <pc:sldMk cId="2802465441" sldId="2147473522"/>
            <ac:spMk id="25" creationId="{01DC26C3-E6F4-C27A-8624-3A65D81B6008}"/>
          </ac:spMkLst>
        </pc:spChg>
        <pc:graphicFrameChg chg="mod modGraphic">
          <ac:chgData name="Tường SKHĐT" userId="ab9568c39a88b08a" providerId="LiveId" clId="{209500A2-46D0-4A60-8122-7A5CF9743D09}" dt="2023-05-26T08:08:19.097" v="411" actId="1076"/>
          <ac:graphicFrameMkLst>
            <pc:docMk/>
            <pc:sldMk cId="2802465441" sldId="2147473522"/>
            <ac:graphicFrameMk id="9" creationId="{0FC7DBA8-03B5-1D5D-B7A1-68AA6F62DF7E}"/>
          </ac:graphicFrameMkLst>
        </pc:graphicFrameChg>
        <pc:picChg chg="mod">
          <ac:chgData name="Tường SKHĐT" userId="ab9568c39a88b08a" providerId="LiveId" clId="{209500A2-46D0-4A60-8122-7A5CF9743D09}" dt="2023-05-26T04:30:36.780" v="116" actId="1076"/>
          <ac:picMkLst>
            <pc:docMk/>
            <pc:sldMk cId="2802465441" sldId="2147473522"/>
            <ac:picMk id="3" creationId="{F1C86665-484F-794D-CFA7-5A2693500FE9}"/>
          </ac:picMkLst>
        </pc:picChg>
      </pc:sldChg>
      <pc:sldChg chg="delSp modSp del mod">
        <pc:chgData name="Tường SKHĐT" userId="ab9568c39a88b08a" providerId="LiveId" clId="{209500A2-46D0-4A60-8122-7A5CF9743D09}" dt="2023-05-26T08:45:26.580" v="1020" actId="2696"/>
        <pc:sldMkLst>
          <pc:docMk/>
          <pc:sldMk cId="664381054" sldId="2147473536"/>
        </pc:sldMkLst>
        <pc:spChg chg="del">
          <ac:chgData name="Tường SKHĐT" userId="ab9568c39a88b08a" providerId="LiveId" clId="{209500A2-46D0-4A60-8122-7A5CF9743D09}" dt="2023-05-26T08:27:42.926" v="752" actId="21"/>
          <ac:spMkLst>
            <pc:docMk/>
            <pc:sldMk cId="664381054" sldId="2147473536"/>
            <ac:spMk id="5" creationId="{A5E63777-D9B0-CC7C-4534-85577A499B18}"/>
          </ac:spMkLst>
        </pc:spChg>
        <pc:graphicFrameChg chg="mod">
          <ac:chgData name="Tường SKHĐT" userId="ab9568c39a88b08a" providerId="LiveId" clId="{209500A2-46D0-4A60-8122-7A5CF9743D09}" dt="2023-05-26T08:27:44.783" v="753" actId="1076"/>
          <ac:graphicFrameMkLst>
            <pc:docMk/>
            <pc:sldMk cId="664381054" sldId="2147473536"/>
            <ac:graphicFrameMk id="6" creationId="{00000000-0000-0000-0000-000000000000}"/>
          </ac:graphicFrameMkLst>
        </pc:graphicFrameChg>
        <pc:cxnChg chg="del">
          <ac:chgData name="Tường SKHĐT" userId="ab9568c39a88b08a" providerId="LiveId" clId="{209500A2-46D0-4A60-8122-7A5CF9743D09}" dt="2023-05-26T08:27:42.926" v="752" actId="21"/>
          <ac:cxnSpMkLst>
            <pc:docMk/>
            <pc:sldMk cId="664381054" sldId="2147473536"/>
            <ac:cxnSpMk id="10" creationId="{9923AE74-1EB9-B8B8-7F10-C195957B00FF}"/>
          </ac:cxnSpMkLst>
        </pc:cxnChg>
      </pc:sldChg>
      <pc:sldChg chg="delSp modSp mod">
        <pc:chgData name="Tường SKHĐT" userId="ab9568c39a88b08a" providerId="LiveId" clId="{209500A2-46D0-4A60-8122-7A5CF9743D09}" dt="2023-05-26T08:28:36.231" v="764" actId="1076"/>
        <pc:sldMkLst>
          <pc:docMk/>
          <pc:sldMk cId="1168642509" sldId="2147473537"/>
        </pc:sldMkLst>
        <pc:spChg chg="del">
          <ac:chgData name="Tường SKHĐT" userId="ab9568c39a88b08a" providerId="LiveId" clId="{209500A2-46D0-4A60-8122-7A5CF9743D09}" dt="2023-05-26T08:28:34.444" v="763" actId="21"/>
          <ac:spMkLst>
            <pc:docMk/>
            <pc:sldMk cId="1168642509" sldId="2147473537"/>
            <ac:spMk id="3" creationId="{DDCD32B3-A3FB-948B-6323-63F96EA817F8}"/>
          </ac:spMkLst>
        </pc:spChg>
        <pc:graphicFrameChg chg="mod">
          <ac:chgData name="Tường SKHĐT" userId="ab9568c39a88b08a" providerId="LiveId" clId="{209500A2-46D0-4A60-8122-7A5CF9743D09}" dt="2023-05-26T08:28:36.231" v="764" actId="1076"/>
          <ac:graphicFrameMkLst>
            <pc:docMk/>
            <pc:sldMk cId="1168642509" sldId="2147473537"/>
            <ac:graphicFrameMk id="6" creationId="{00000000-0000-0000-0000-000000000000}"/>
          </ac:graphicFrameMkLst>
        </pc:graphicFrameChg>
        <pc:cxnChg chg="del">
          <ac:chgData name="Tường SKHĐT" userId="ab9568c39a88b08a" providerId="LiveId" clId="{209500A2-46D0-4A60-8122-7A5CF9743D09}" dt="2023-05-26T08:28:34.444" v="763" actId="21"/>
          <ac:cxnSpMkLst>
            <pc:docMk/>
            <pc:sldMk cId="1168642509" sldId="2147473537"/>
            <ac:cxnSpMk id="5" creationId="{A250599A-DC75-597C-6156-E69FFFB3F75E}"/>
          </ac:cxnSpMkLst>
        </pc:cxnChg>
      </pc:sldChg>
      <pc:sldChg chg="delSp modSp mod">
        <pc:chgData name="Tường SKHĐT" userId="ab9568c39a88b08a" providerId="LiveId" clId="{209500A2-46D0-4A60-8122-7A5CF9743D09}" dt="2023-05-26T08:29:02.791" v="771" actId="1076"/>
        <pc:sldMkLst>
          <pc:docMk/>
          <pc:sldMk cId="2553187395" sldId="2147473539"/>
        </pc:sldMkLst>
        <pc:spChg chg="del">
          <ac:chgData name="Tường SKHĐT" userId="ab9568c39a88b08a" providerId="LiveId" clId="{209500A2-46D0-4A60-8122-7A5CF9743D09}" dt="2023-05-26T08:28:59.984" v="770" actId="21"/>
          <ac:spMkLst>
            <pc:docMk/>
            <pc:sldMk cId="2553187395" sldId="2147473539"/>
            <ac:spMk id="3" creationId="{678AF14F-DB85-BB4F-8AE9-9F2A939634DE}"/>
          </ac:spMkLst>
        </pc:spChg>
        <pc:graphicFrameChg chg="mod">
          <ac:chgData name="Tường SKHĐT" userId="ab9568c39a88b08a" providerId="LiveId" clId="{209500A2-46D0-4A60-8122-7A5CF9743D09}" dt="2023-05-26T08:29:02.791" v="771" actId="1076"/>
          <ac:graphicFrameMkLst>
            <pc:docMk/>
            <pc:sldMk cId="2553187395" sldId="2147473539"/>
            <ac:graphicFrameMk id="6" creationId="{00000000-0000-0000-0000-000000000000}"/>
          </ac:graphicFrameMkLst>
        </pc:graphicFrameChg>
        <pc:cxnChg chg="del">
          <ac:chgData name="Tường SKHĐT" userId="ab9568c39a88b08a" providerId="LiveId" clId="{209500A2-46D0-4A60-8122-7A5CF9743D09}" dt="2023-05-26T08:28:59.984" v="770" actId="21"/>
          <ac:cxnSpMkLst>
            <pc:docMk/>
            <pc:sldMk cId="2553187395" sldId="2147473539"/>
            <ac:cxnSpMk id="5" creationId="{26AD4A3B-AFF7-8EB3-9187-2D3DEF76E7E3}"/>
          </ac:cxnSpMkLst>
        </pc:cxnChg>
      </pc:sldChg>
      <pc:sldChg chg="delSp modSp mod">
        <pc:chgData name="Tường SKHĐT" userId="ab9568c39a88b08a" providerId="LiveId" clId="{209500A2-46D0-4A60-8122-7A5CF9743D09}" dt="2023-05-26T08:29:39.381" v="779" actId="1076"/>
        <pc:sldMkLst>
          <pc:docMk/>
          <pc:sldMk cId="2759319111" sldId="2147473541"/>
        </pc:sldMkLst>
        <pc:spChg chg="del">
          <ac:chgData name="Tường SKHĐT" userId="ab9568c39a88b08a" providerId="LiveId" clId="{209500A2-46D0-4A60-8122-7A5CF9743D09}" dt="2023-05-26T08:29:28.407" v="776" actId="21"/>
          <ac:spMkLst>
            <pc:docMk/>
            <pc:sldMk cId="2759319111" sldId="2147473541"/>
            <ac:spMk id="2" creationId="{1C8F3302-1404-F515-4EF7-DF9A9C367A78}"/>
          </ac:spMkLst>
        </pc:spChg>
        <pc:graphicFrameChg chg="mod">
          <ac:chgData name="Tường SKHĐT" userId="ab9568c39a88b08a" providerId="LiveId" clId="{209500A2-46D0-4A60-8122-7A5CF9743D09}" dt="2023-05-26T08:29:39.381" v="779" actId="1076"/>
          <ac:graphicFrameMkLst>
            <pc:docMk/>
            <pc:sldMk cId="2759319111" sldId="2147473541"/>
            <ac:graphicFrameMk id="6" creationId="{00000000-0000-0000-0000-000000000000}"/>
          </ac:graphicFrameMkLst>
        </pc:graphicFrameChg>
        <pc:cxnChg chg="del">
          <ac:chgData name="Tường SKHĐT" userId="ab9568c39a88b08a" providerId="LiveId" clId="{209500A2-46D0-4A60-8122-7A5CF9743D09}" dt="2023-05-26T08:29:28.407" v="776" actId="21"/>
          <ac:cxnSpMkLst>
            <pc:docMk/>
            <pc:sldMk cId="2759319111" sldId="2147473541"/>
            <ac:cxnSpMk id="4" creationId="{78CA2B95-D9A8-140D-397E-B3D63A6A47C8}"/>
          </ac:cxnSpMkLst>
        </pc:cxnChg>
      </pc:sldChg>
      <pc:sldChg chg="modSp mod">
        <pc:chgData name="Tường SKHĐT" userId="ab9568c39a88b08a" providerId="LiveId" clId="{209500A2-46D0-4A60-8122-7A5CF9743D09}" dt="2023-05-26T08:20:11.097" v="698" actId="20577"/>
        <pc:sldMkLst>
          <pc:docMk/>
          <pc:sldMk cId="1786243308" sldId="2147473545"/>
        </pc:sldMkLst>
        <pc:spChg chg="mod">
          <ac:chgData name="Tường SKHĐT" userId="ab9568c39a88b08a" providerId="LiveId" clId="{209500A2-46D0-4A60-8122-7A5CF9743D09}" dt="2023-05-26T08:20:11.097" v="698" actId="20577"/>
          <ac:spMkLst>
            <pc:docMk/>
            <pc:sldMk cId="1786243308" sldId="2147473545"/>
            <ac:spMk id="4" creationId="{BC31463C-298B-A6B5-ABD8-F7B1C75C6D8F}"/>
          </ac:spMkLst>
        </pc:spChg>
        <pc:spChg chg="mod">
          <ac:chgData name="Tường SKHĐT" userId="ab9568c39a88b08a" providerId="LiveId" clId="{209500A2-46D0-4A60-8122-7A5CF9743D09}" dt="2023-05-26T08:20:06.430" v="693" actId="20577"/>
          <ac:spMkLst>
            <pc:docMk/>
            <pc:sldMk cId="1786243308" sldId="2147473545"/>
            <ac:spMk id="25" creationId="{01DC26C3-E6F4-C27A-8624-3A65D81B6008}"/>
          </ac:spMkLst>
        </pc:spChg>
        <pc:graphicFrameChg chg="mod modGraphic">
          <ac:chgData name="Tường SKHĐT" userId="ab9568c39a88b08a" providerId="LiveId" clId="{209500A2-46D0-4A60-8122-7A5CF9743D09}" dt="2023-05-26T08:10:10.804" v="454" actId="403"/>
          <ac:graphicFrameMkLst>
            <pc:docMk/>
            <pc:sldMk cId="1786243308" sldId="2147473545"/>
            <ac:graphicFrameMk id="8" creationId="{B5E5335D-2EED-82AF-3A59-FAE8BB94EAE1}"/>
          </ac:graphicFrameMkLst>
        </pc:graphicFrameChg>
      </pc:sldChg>
      <pc:sldChg chg="addSp modSp add mod">
        <pc:chgData name="Tường SKHĐT" userId="ab9568c39a88b08a" providerId="LiveId" clId="{209500A2-46D0-4A60-8122-7A5CF9743D09}" dt="2023-05-26T08:41:58.097" v="1017" actId="5793"/>
        <pc:sldMkLst>
          <pc:docMk/>
          <pc:sldMk cId="1783682046" sldId="2147473574"/>
        </pc:sldMkLst>
        <pc:spChg chg="add mod">
          <ac:chgData name="Tường SKHĐT" userId="ab9568c39a88b08a" providerId="LiveId" clId="{209500A2-46D0-4A60-8122-7A5CF9743D09}" dt="2023-05-26T08:40:54.458" v="957"/>
          <ac:spMkLst>
            <pc:docMk/>
            <pc:sldMk cId="1783682046" sldId="2147473574"/>
            <ac:spMk id="2" creationId="{76330D1C-FE94-7514-3404-1D970A73B3B4}"/>
          </ac:spMkLst>
        </pc:spChg>
        <pc:spChg chg="mod">
          <ac:chgData name="Tường SKHĐT" userId="ab9568c39a88b08a" providerId="LiveId" clId="{209500A2-46D0-4A60-8122-7A5CF9743D09}" dt="2023-05-26T08:40:56.956" v="958" actId="1076"/>
          <ac:spMkLst>
            <pc:docMk/>
            <pc:sldMk cId="1783682046" sldId="2147473574"/>
            <ac:spMk id="25" creationId="{01DC26C3-E6F4-C27A-8624-3A65D81B6008}"/>
          </ac:spMkLst>
        </pc:spChg>
        <pc:graphicFrameChg chg="mod modGraphic">
          <ac:chgData name="Tường SKHĐT" userId="ab9568c39a88b08a" providerId="LiveId" clId="{209500A2-46D0-4A60-8122-7A5CF9743D09}" dt="2023-05-26T08:41:58.097" v="1017" actId="5793"/>
          <ac:graphicFrameMkLst>
            <pc:docMk/>
            <pc:sldMk cId="1783682046" sldId="2147473574"/>
            <ac:graphicFrameMk id="8" creationId="{B5E5335D-2EED-82AF-3A59-FAE8BB94EAE1}"/>
          </ac:graphicFrameMkLst>
        </pc:graphicFrameChg>
      </pc:sldChg>
      <pc:sldChg chg="delSp modSp mod">
        <pc:chgData name="Tường SKHĐT" userId="ab9568c39a88b08a" providerId="LiveId" clId="{209500A2-46D0-4A60-8122-7A5CF9743D09}" dt="2023-05-26T08:28:49.103" v="768" actId="1076"/>
        <pc:sldMkLst>
          <pc:docMk/>
          <pc:sldMk cId="2835104792" sldId="2147473580"/>
        </pc:sldMkLst>
        <pc:spChg chg="del">
          <ac:chgData name="Tường SKHĐT" userId="ab9568c39a88b08a" providerId="LiveId" clId="{209500A2-46D0-4A60-8122-7A5CF9743D09}" dt="2023-05-26T08:28:41.492" v="765" actId="21"/>
          <ac:spMkLst>
            <pc:docMk/>
            <pc:sldMk cId="2835104792" sldId="2147473580"/>
            <ac:spMk id="2" creationId="{A03C5AD6-CB3D-370B-B66B-5805906409EE}"/>
          </ac:spMkLst>
        </pc:spChg>
        <pc:spChg chg="mod">
          <ac:chgData name="Tường SKHĐT" userId="ab9568c39a88b08a" providerId="LiveId" clId="{209500A2-46D0-4A60-8122-7A5CF9743D09}" dt="2023-05-26T08:28:44.560" v="767" actId="1076"/>
          <ac:spMkLst>
            <pc:docMk/>
            <pc:sldMk cId="2835104792" sldId="2147473580"/>
            <ac:spMk id="18" creationId="{4FCAD889-B09B-00B4-526B-C91BC90C309F}"/>
          </ac:spMkLst>
        </pc:spChg>
        <pc:grpChg chg="mod">
          <ac:chgData name="Tường SKHĐT" userId="ab9568c39a88b08a" providerId="LiveId" clId="{209500A2-46D0-4A60-8122-7A5CF9743D09}" dt="2023-05-26T08:28:49.103" v="768" actId="1076"/>
          <ac:grpSpMkLst>
            <pc:docMk/>
            <pc:sldMk cId="2835104792" sldId="2147473580"/>
            <ac:grpSpMk id="15" creationId="{DAA907E5-0624-2DAB-4677-B297B7F64B5A}"/>
          </ac:grpSpMkLst>
        </pc:grpChg>
        <pc:grpChg chg="mod">
          <ac:chgData name="Tường SKHĐT" userId="ab9568c39a88b08a" providerId="LiveId" clId="{209500A2-46D0-4A60-8122-7A5CF9743D09}" dt="2023-05-26T08:28:49.103" v="768" actId="1076"/>
          <ac:grpSpMkLst>
            <pc:docMk/>
            <pc:sldMk cId="2835104792" sldId="2147473580"/>
            <ac:grpSpMk id="16" creationId="{2280FA70-4461-06CD-B1F6-9B7852049A95}"/>
          </ac:grpSpMkLst>
        </pc:grpChg>
        <pc:cxnChg chg="del">
          <ac:chgData name="Tường SKHĐT" userId="ab9568c39a88b08a" providerId="LiveId" clId="{209500A2-46D0-4A60-8122-7A5CF9743D09}" dt="2023-05-26T08:28:41.492" v="765" actId="21"/>
          <ac:cxnSpMkLst>
            <pc:docMk/>
            <pc:sldMk cId="2835104792" sldId="2147473580"/>
            <ac:cxnSpMk id="12" creationId="{955ACED0-3984-B592-FF47-C63870456B87}"/>
          </ac:cxnSpMkLst>
        </pc:cxnChg>
      </pc:sldChg>
      <pc:sldChg chg="delSp modSp mod">
        <pc:chgData name="Tường SKHĐT" userId="ab9568c39a88b08a" providerId="LiveId" clId="{209500A2-46D0-4A60-8122-7A5CF9743D09}" dt="2023-05-26T08:37:51.992" v="925" actId="14100"/>
        <pc:sldMkLst>
          <pc:docMk/>
          <pc:sldMk cId="2155607679" sldId="2147473581"/>
        </pc:sldMkLst>
        <pc:spChg chg="mod">
          <ac:chgData name="Tường SKHĐT" userId="ab9568c39a88b08a" providerId="LiveId" clId="{209500A2-46D0-4A60-8122-7A5CF9743D09}" dt="2023-05-26T08:37:51.992" v="925" actId="14100"/>
          <ac:spMkLst>
            <pc:docMk/>
            <pc:sldMk cId="2155607679" sldId="2147473581"/>
            <ac:spMk id="2" creationId="{A49FA47D-1679-133E-0301-5CFB76FC4F8D}"/>
          </ac:spMkLst>
        </pc:spChg>
        <pc:spChg chg="del">
          <ac:chgData name="Tường SKHĐT" userId="ab9568c39a88b08a" providerId="LiveId" clId="{209500A2-46D0-4A60-8122-7A5CF9743D09}" dt="2023-05-26T08:28:54.658" v="769" actId="478"/>
          <ac:spMkLst>
            <pc:docMk/>
            <pc:sldMk cId="2155607679" sldId="2147473581"/>
            <ac:spMk id="3" creationId="{C2A0401F-C36F-3694-D01C-D7962EAE025C}"/>
          </ac:spMkLst>
        </pc:spChg>
        <pc:graphicFrameChg chg="mod">
          <ac:chgData name="Tường SKHĐT" userId="ab9568c39a88b08a" providerId="LiveId" clId="{209500A2-46D0-4A60-8122-7A5CF9743D09}" dt="2023-05-26T08:36:43.372" v="784" actId="1076"/>
          <ac:graphicFrameMkLst>
            <pc:docMk/>
            <pc:sldMk cId="2155607679" sldId="2147473581"/>
            <ac:graphicFrameMk id="6" creationId="{00000000-0000-0000-0000-000000000000}"/>
          </ac:graphicFrameMkLst>
        </pc:graphicFrameChg>
        <pc:picChg chg="mod">
          <ac:chgData name="Tường SKHĐT" userId="ab9568c39a88b08a" providerId="LiveId" clId="{209500A2-46D0-4A60-8122-7A5CF9743D09}" dt="2023-05-26T08:37:47.665" v="923" actId="14100"/>
          <ac:picMkLst>
            <pc:docMk/>
            <pc:sldMk cId="2155607679" sldId="2147473581"/>
            <ac:picMk id="4" creationId="{F2017B93-348B-8282-C73E-71FE6A6AA06D}"/>
          </ac:picMkLst>
        </pc:picChg>
        <pc:picChg chg="mod">
          <ac:chgData name="Tường SKHĐT" userId="ab9568c39a88b08a" providerId="LiveId" clId="{209500A2-46D0-4A60-8122-7A5CF9743D09}" dt="2023-05-26T08:37:49.401" v="924" actId="14100"/>
          <ac:picMkLst>
            <pc:docMk/>
            <pc:sldMk cId="2155607679" sldId="2147473581"/>
            <ac:picMk id="10" creationId="{1741D10D-CE02-80ED-DD91-3CC4EA770F0E}"/>
          </ac:picMkLst>
        </pc:picChg>
        <pc:cxnChg chg="del">
          <ac:chgData name="Tường SKHĐT" userId="ab9568c39a88b08a" providerId="LiveId" clId="{209500A2-46D0-4A60-8122-7A5CF9743D09}" dt="2023-05-26T08:28:54.658" v="769" actId="478"/>
          <ac:cxnSpMkLst>
            <pc:docMk/>
            <pc:sldMk cId="2155607679" sldId="2147473581"/>
            <ac:cxnSpMk id="5" creationId="{AC578C6E-3660-3A69-AA0A-08255636CE96}"/>
          </ac:cxnSpMkLst>
        </pc:cxnChg>
      </pc:sldChg>
      <pc:sldChg chg="delSp mod">
        <pc:chgData name="Tường SKHĐT" userId="ab9568c39a88b08a" providerId="LiveId" clId="{209500A2-46D0-4A60-8122-7A5CF9743D09}" dt="2023-05-26T08:29:09.498" v="772" actId="21"/>
        <pc:sldMkLst>
          <pc:docMk/>
          <pc:sldMk cId="1163171153" sldId="2147473582"/>
        </pc:sldMkLst>
        <pc:spChg chg="del">
          <ac:chgData name="Tường SKHĐT" userId="ab9568c39a88b08a" providerId="LiveId" clId="{209500A2-46D0-4A60-8122-7A5CF9743D09}" dt="2023-05-26T08:29:09.498" v="772" actId="21"/>
          <ac:spMkLst>
            <pc:docMk/>
            <pc:sldMk cId="1163171153" sldId="2147473582"/>
            <ac:spMk id="3" creationId="{C1E44584-CE13-5EA4-19DB-D8DC990CBC62}"/>
          </ac:spMkLst>
        </pc:spChg>
        <pc:cxnChg chg="del">
          <ac:chgData name="Tường SKHĐT" userId="ab9568c39a88b08a" providerId="LiveId" clId="{209500A2-46D0-4A60-8122-7A5CF9743D09}" dt="2023-05-26T08:29:09.498" v="772" actId="21"/>
          <ac:cxnSpMkLst>
            <pc:docMk/>
            <pc:sldMk cId="1163171153" sldId="2147473582"/>
            <ac:cxnSpMk id="10" creationId="{B914ED9F-DFF6-D37B-7629-60468B1F48A2}"/>
          </ac:cxnSpMkLst>
        </pc:cxnChg>
      </pc:sldChg>
      <pc:sldChg chg="delSp modSp mod">
        <pc:chgData name="Tường SKHĐT" userId="ab9568c39a88b08a" providerId="LiveId" clId="{209500A2-46D0-4A60-8122-7A5CF9743D09}" dt="2023-05-26T08:29:24.742" v="775" actId="1076"/>
        <pc:sldMkLst>
          <pc:docMk/>
          <pc:sldMk cId="740355695" sldId="2147473583"/>
        </pc:sldMkLst>
        <pc:spChg chg="del">
          <ac:chgData name="Tường SKHĐT" userId="ab9568c39a88b08a" providerId="LiveId" clId="{209500A2-46D0-4A60-8122-7A5CF9743D09}" dt="2023-05-26T08:29:22.155" v="774" actId="21"/>
          <ac:spMkLst>
            <pc:docMk/>
            <pc:sldMk cId="740355695" sldId="2147473583"/>
            <ac:spMk id="5" creationId="{A38739F1-DA61-0D51-781C-0A971C46BC8E}"/>
          </ac:spMkLst>
        </pc:spChg>
        <pc:graphicFrameChg chg="mod">
          <ac:chgData name="Tường SKHĐT" userId="ab9568c39a88b08a" providerId="LiveId" clId="{209500A2-46D0-4A60-8122-7A5CF9743D09}" dt="2023-05-26T08:29:24.742" v="775" actId="1076"/>
          <ac:graphicFrameMkLst>
            <pc:docMk/>
            <pc:sldMk cId="740355695" sldId="2147473583"/>
            <ac:graphicFrameMk id="6" creationId="{00000000-0000-0000-0000-000000000000}"/>
          </ac:graphicFrameMkLst>
        </pc:graphicFrameChg>
        <pc:cxnChg chg="del">
          <ac:chgData name="Tường SKHĐT" userId="ab9568c39a88b08a" providerId="LiveId" clId="{209500A2-46D0-4A60-8122-7A5CF9743D09}" dt="2023-05-26T08:29:22.155" v="774" actId="21"/>
          <ac:cxnSpMkLst>
            <pc:docMk/>
            <pc:sldMk cId="740355695" sldId="2147473583"/>
            <ac:cxnSpMk id="11" creationId="{BBB3FFB5-717C-CCB2-E429-D8ADD8E540A5}"/>
          </ac:cxnSpMkLst>
        </pc:cxnChg>
      </pc:sldChg>
      <pc:sldChg chg="del">
        <pc:chgData name="Tường SKHĐT" userId="ab9568c39a88b08a" providerId="LiveId" clId="{209500A2-46D0-4A60-8122-7A5CF9743D09}" dt="2023-05-26T08:10:50.509" v="459" actId="2696"/>
        <pc:sldMkLst>
          <pc:docMk/>
          <pc:sldMk cId="3139637778" sldId="2147473595"/>
        </pc:sldMkLst>
      </pc:sldChg>
      <pc:sldChg chg="addSp delSp modSp mod">
        <pc:chgData name="Tường SKHĐT" userId="ab9568c39a88b08a" providerId="LiveId" clId="{209500A2-46D0-4A60-8122-7A5CF9743D09}" dt="2023-05-26T04:18:44.199" v="82" actId="1076"/>
        <pc:sldMkLst>
          <pc:docMk/>
          <pc:sldMk cId="3122668904" sldId="2147473596"/>
        </pc:sldMkLst>
        <pc:spChg chg="add mod">
          <ac:chgData name="Tường SKHĐT" userId="ab9568c39a88b08a" providerId="LiveId" clId="{209500A2-46D0-4A60-8122-7A5CF9743D09}" dt="2023-05-26T04:18:44.199" v="82" actId="1076"/>
          <ac:spMkLst>
            <pc:docMk/>
            <pc:sldMk cId="3122668904" sldId="2147473596"/>
            <ac:spMk id="4" creationId="{B7A8B683-8640-8A89-C54A-E8845438FA6C}"/>
          </ac:spMkLst>
        </pc:spChg>
        <pc:spChg chg="del">
          <ac:chgData name="Tường SKHĐT" userId="ab9568c39a88b08a" providerId="LiveId" clId="{209500A2-46D0-4A60-8122-7A5CF9743D09}" dt="2023-05-26T04:18:20.010" v="2" actId="21"/>
          <ac:spMkLst>
            <pc:docMk/>
            <pc:sldMk cId="3122668904" sldId="2147473596"/>
            <ac:spMk id="12" creationId="{8A67A444-F448-A9A5-7360-DFFFEB3A5F6E}"/>
          </ac:spMkLst>
        </pc:spChg>
        <pc:graphicFrameChg chg="del">
          <ac:chgData name="Tường SKHĐT" userId="ab9568c39a88b08a" providerId="LiveId" clId="{209500A2-46D0-4A60-8122-7A5CF9743D09}" dt="2023-05-26T04:18:16.195" v="1" actId="21"/>
          <ac:graphicFrameMkLst>
            <pc:docMk/>
            <pc:sldMk cId="3122668904" sldId="2147473596"/>
            <ac:graphicFrameMk id="9" creationId="{0738877F-56EF-4DEF-B5AA-1664DC8186CF}"/>
          </ac:graphicFrameMkLst>
        </pc:graphicFrameChg>
      </pc:sldChg>
      <pc:sldChg chg="delSp modSp mod">
        <pc:chgData name="Tường SKHĐT" userId="ab9568c39a88b08a" providerId="LiveId" clId="{209500A2-46D0-4A60-8122-7A5CF9743D09}" dt="2023-05-26T08:20:26.072" v="707" actId="20577"/>
        <pc:sldMkLst>
          <pc:docMk/>
          <pc:sldMk cId="2711314153" sldId="2147473605"/>
        </pc:sldMkLst>
        <pc:spChg chg="del">
          <ac:chgData name="Tường SKHĐT" userId="ab9568c39a88b08a" providerId="LiveId" clId="{209500A2-46D0-4A60-8122-7A5CF9743D09}" dt="2023-05-26T08:07:51.835" v="405" actId="21"/>
          <ac:spMkLst>
            <pc:docMk/>
            <pc:sldMk cId="2711314153" sldId="2147473605"/>
            <ac:spMk id="2" creationId="{61B13660-941B-608F-A108-3C5F23C100E2}"/>
          </ac:spMkLst>
        </pc:spChg>
        <pc:spChg chg="mod">
          <ac:chgData name="Tường SKHĐT" userId="ab9568c39a88b08a" providerId="LiveId" clId="{209500A2-46D0-4A60-8122-7A5CF9743D09}" dt="2023-05-26T08:20:26.072" v="707" actId="20577"/>
          <ac:spMkLst>
            <pc:docMk/>
            <pc:sldMk cId="2711314153" sldId="2147473605"/>
            <ac:spMk id="25" creationId="{01DC26C3-E6F4-C27A-8624-3A65D81B6008}"/>
          </ac:spMkLst>
        </pc:spChg>
        <pc:graphicFrameChg chg="modGraphic">
          <ac:chgData name="Tường SKHĐT" userId="ab9568c39a88b08a" providerId="LiveId" clId="{209500A2-46D0-4A60-8122-7A5CF9743D09}" dt="2023-05-26T08:11:38.841" v="515" actId="20577"/>
          <ac:graphicFrameMkLst>
            <pc:docMk/>
            <pc:sldMk cId="2711314153" sldId="2147473605"/>
            <ac:graphicFrameMk id="8" creationId="{B5E5335D-2EED-82AF-3A59-FAE8BB94EAE1}"/>
          </ac:graphicFrameMkLst>
        </pc:graphicFrameChg>
      </pc:sldChg>
      <pc:sldChg chg="del">
        <pc:chgData name="Tường SKHĐT" userId="ab9568c39a88b08a" providerId="LiveId" clId="{209500A2-46D0-4A60-8122-7A5CF9743D09}" dt="2023-05-26T04:29:26.042" v="111" actId="2696"/>
        <pc:sldMkLst>
          <pc:docMk/>
          <pc:sldMk cId="3004264672" sldId="2147473606"/>
        </pc:sldMkLst>
      </pc:sldChg>
      <pc:sldChg chg="delSp modSp mod">
        <pc:chgData name="Tường SKHĐT" userId="ab9568c39a88b08a" providerId="LiveId" clId="{209500A2-46D0-4A60-8122-7A5CF9743D09}" dt="2023-05-26T08:34:52.612" v="782" actId="20577"/>
        <pc:sldMkLst>
          <pc:docMk/>
          <pc:sldMk cId="2171956986" sldId="2147473620"/>
        </pc:sldMkLst>
        <pc:spChg chg="del">
          <ac:chgData name="Tường SKHĐT" userId="ab9568c39a88b08a" providerId="LiveId" clId="{209500A2-46D0-4A60-8122-7A5CF9743D09}" dt="2023-05-26T08:27:28.728" v="748" actId="21"/>
          <ac:spMkLst>
            <pc:docMk/>
            <pc:sldMk cId="2171956986" sldId="2147473620"/>
            <ac:spMk id="3" creationId="{1F516AD9-C8BB-C766-C890-38C507C25E6D}"/>
          </ac:spMkLst>
        </pc:spChg>
        <pc:spChg chg="mod">
          <ac:chgData name="Tường SKHĐT" userId="ab9568c39a88b08a" providerId="LiveId" clId="{209500A2-46D0-4A60-8122-7A5CF9743D09}" dt="2023-05-26T08:34:52.612" v="782" actId="20577"/>
          <ac:spMkLst>
            <pc:docMk/>
            <pc:sldMk cId="2171956986" sldId="2147473620"/>
            <ac:spMk id="11" creationId="{6220529F-F711-0C6B-EEFD-3905ECF34CAE}"/>
          </ac:spMkLst>
        </pc:spChg>
        <pc:graphicFrameChg chg="mod">
          <ac:chgData name="Tường SKHĐT" userId="ab9568c39a88b08a" providerId="LiveId" clId="{209500A2-46D0-4A60-8122-7A5CF9743D09}" dt="2023-05-26T08:27:31.300" v="749" actId="1076"/>
          <ac:graphicFrameMkLst>
            <pc:docMk/>
            <pc:sldMk cId="2171956986" sldId="2147473620"/>
            <ac:graphicFrameMk id="6" creationId="{00000000-0000-0000-0000-000000000000}"/>
          </ac:graphicFrameMkLst>
        </pc:graphicFrameChg>
        <pc:cxnChg chg="del">
          <ac:chgData name="Tường SKHĐT" userId="ab9568c39a88b08a" providerId="LiveId" clId="{209500A2-46D0-4A60-8122-7A5CF9743D09}" dt="2023-05-26T08:27:28.728" v="748" actId="21"/>
          <ac:cxnSpMkLst>
            <pc:docMk/>
            <pc:sldMk cId="2171956986" sldId="2147473620"/>
            <ac:cxnSpMk id="5" creationId="{FABA730E-F86F-88FC-599C-337CE220F1E6}"/>
          </ac:cxnSpMkLst>
        </pc:cxnChg>
      </pc:sldChg>
      <pc:sldChg chg="del">
        <pc:chgData name="Tường SKHĐT" userId="ab9568c39a88b08a" providerId="LiveId" clId="{209500A2-46D0-4A60-8122-7A5CF9743D09}" dt="2023-05-26T08:27:21.404" v="747" actId="2696"/>
        <pc:sldMkLst>
          <pc:docMk/>
          <pc:sldMk cId="1386009712" sldId="2147473623"/>
        </pc:sldMkLst>
      </pc:sldChg>
      <pc:sldChg chg="delSp modSp mod">
        <pc:chgData name="Tường SKHĐT" userId="ab9568c39a88b08a" providerId="LiveId" clId="{209500A2-46D0-4A60-8122-7A5CF9743D09}" dt="2023-05-26T08:27:37.391" v="751" actId="1076"/>
        <pc:sldMkLst>
          <pc:docMk/>
          <pc:sldMk cId="831685957" sldId="2147473634"/>
        </pc:sldMkLst>
        <pc:spChg chg="del">
          <ac:chgData name="Tường SKHĐT" userId="ab9568c39a88b08a" providerId="LiveId" clId="{209500A2-46D0-4A60-8122-7A5CF9743D09}" dt="2023-05-26T08:27:34.734" v="750" actId="21"/>
          <ac:spMkLst>
            <pc:docMk/>
            <pc:sldMk cId="831685957" sldId="2147473634"/>
            <ac:spMk id="3" creationId="{1F516AD9-C8BB-C766-C890-38C507C25E6D}"/>
          </ac:spMkLst>
        </pc:spChg>
        <pc:graphicFrameChg chg="mod">
          <ac:chgData name="Tường SKHĐT" userId="ab9568c39a88b08a" providerId="LiveId" clId="{209500A2-46D0-4A60-8122-7A5CF9743D09}" dt="2023-05-26T08:27:37.391" v="751" actId="1076"/>
          <ac:graphicFrameMkLst>
            <pc:docMk/>
            <pc:sldMk cId="831685957" sldId="2147473634"/>
            <ac:graphicFrameMk id="6" creationId="{00000000-0000-0000-0000-000000000000}"/>
          </ac:graphicFrameMkLst>
        </pc:graphicFrameChg>
        <pc:cxnChg chg="del">
          <ac:chgData name="Tường SKHĐT" userId="ab9568c39a88b08a" providerId="LiveId" clId="{209500A2-46D0-4A60-8122-7A5CF9743D09}" dt="2023-05-26T08:27:34.734" v="750" actId="21"/>
          <ac:cxnSpMkLst>
            <pc:docMk/>
            <pc:sldMk cId="831685957" sldId="2147473634"/>
            <ac:cxnSpMk id="5" creationId="{FABA730E-F86F-88FC-599C-337CE220F1E6}"/>
          </ac:cxnSpMkLst>
        </pc:cxnChg>
      </pc:sldChg>
      <pc:sldChg chg="del">
        <pc:chgData name="Tường SKHĐT" userId="ab9568c39a88b08a" providerId="LiveId" clId="{209500A2-46D0-4A60-8122-7A5CF9743D09}" dt="2023-05-26T04:18:11.642" v="0" actId="2696"/>
        <pc:sldMkLst>
          <pc:docMk/>
          <pc:sldMk cId="1686249856" sldId="2147473647"/>
        </pc:sldMkLst>
      </pc:sldChg>
      <pc:sldChg chg="del">
        <pc:chgData name="Tường SKHĐT" userId="ab9568c39a88b08a" providerId="LiveId" clId="{209500A2-46D0-4A60-8122-7A5CF9743D09}" dt="2023-05-26T04:18:11.642" v="0" actId="2696"/>
        <pc:sldMkLst>
          <pc:docMk/>
          <pc:sldMk cId="812435647" sldId="2147473649"/>
        </pc:sldMkLst>
      </pc:sldChg>
      <pc:sldChg chg="del">
        <pc:chgData name="Tường SKHĐT" userId="ab9568c39a88b08a" providerId="LiveId" clId="{209500A2-46D0-4A60-8122-7A5CF9743D09}" dt="2023-05-26T04:18:11.642" v="0" actId="2696"/>
        <pc:sldMkLst>
          <pc:docMk/>
          <pc:sldMk cId="882842730" sldId="2147473651"/>
        </pc:sldMkLst>
      </pc:sldChg>
      <pc:sldChg chg="del">
        <pc:chgData name="Tường SKHĐT" userId="ab9568c39a88b08a" providerId="LiveId" clId="{209500A2-46D0-4A60-8122-7A5CF9743D09}" dt="2023-05-26T04:18:11.642" v="0" actId="2696"/>
        <pc:sldMkLst>
          <pc:docMk/>
          <pc:sldMk cId="2086378900" sldId="2147473652"/>
        </pc:sldMkLst>
      </pc:sldChg>
      <pc:sldChg chg="del">
        <pc:chgData name="Tường SKHĐT" userId="ab9568c39a88b08a" providerId="LiveId" clId="{209500A2-46D0-4A60-8122-7A5CF9743D09}" dt="2023-05-26T04:18:11.642" v="0" actId="2696"/>
        <pc:sldMkLst>
          <pc:docMk/>
          <pc:sldMk cId="3727718023" sldId="2147473658"/>
        </pc:sldMkLst>
      </pc:sldChg>
      <pc:sldChg chg="del">
        <pc:chgData name="Tường SKHĐT" userId="ab9568c39a88b08a" providerId="LiveId" clId="{209500A2-46D0-4A60-8122-7A5CF9743D09}" dt="2023-05-26T04:18:11.642" v="0" actId="2696"/>
        <pc:sldMkLst>
          <pc:docMk/>
          <pc:sldMk cId="101557646" sldId="2147473662"/>
        </pc:sldMkLst>
      </pc:sldChg>
      <pc:sldChg chg="addSp delSp modSp mod">
        <pc:chgData name="Tường SKHĐT" userId="ab9568c39a88b08a" providerId="LiveId" clId="{209500A2-46D0-4A60-8122-7A5CF9743D09}" dt="2023-05-26T08:15:58.865" v="607" actId="20577"/>
        <pc:sldMkLst>
          <pc:docMk/>
          <pc:sldMk cId="3788652331" sldId="2147473664"/>
        </pc:sldMkLst>
        <pc:spChg chg="del">
          <ac:chgData name="Tường SKHĐT" userId="ab9568c39a88b08a" providerId="LiveId" clId="{209500A2-46D0-4A60-8122-7A5CF9743D09}" dt="2023-05-26T08:15:38.238" v="584" actId="478"/>
          <ac:spMkLst>
            <pc:docMk/>
            <pc:sldMk cId="3788652331" sldId="2147473664"/>
            <ac:spMk id="2" creationId="{7C81546D-F816-C488-A85A-742F8A6B2CA4}"/>
          </ac:spMkLst>
        </pc:spChg>
        <pc:spChg chg="add mod">
          <ac:chgData name="Tường SKHĐT" userId="ab9568c39a88b08a" providerId="LiveId" clId="{209500A2-46D0-4A60-8122-7A5CF9743D09}" dt="2023-05-26T08:15:58.865" v="607" actId="20577"/>
          <ac:spMkLst>
            <pc:docMk/>
            <pc:sldMk cId="3788652331" sldId="2147473664"/>
            <ac:spMk id="3" creationId="{012B1FB8-DEBD-F0C9-742A-F7D511419944}"/>
          </ac:spMkLst>
        </pc:spChg>
        <pc:spChg chg="del">
          <ac:chgData name="Tường SKHĐT" userId="ab9568c39a88b08a" providerId="LiveId" clId="{209500A2-46D0-4A60-8122-7A5CF9743D09}" dt="2023-05-26T08:15:38.238" v="584" actId="478"/>
          <ac:spMkLst>
            <pc:docMk/>
            <pc:sldMk cId="3788652331" sldId="2147473664"/>
            <ac:spMk id="4" creationId="{97CE96D3-AB3B-391B-8211-8449BFD91087}"/>
          </ac:spMkLst>
        </pc:spChg>
        <pc:graphicFrameChg chg="modGraphic">
          <ac:chgData name="Tường SKHĐT" userId="ab9568c39a88b08a" providerId="LiveId" clId="{209500A2-46D0-4A60-8122-7A5CF9743D09}" dt="2023-05-26T08:15:46.555" v="587" actId="12"/>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209500A2-46D0-4A60-8122-7A5CF9743D09}" dt="2023-05-26T08:16:29.134" v="645" actId="20577"/>
        <pc:sldMkLst>
          <pc:docMk/>
          <pc:sldMk cId="1822202143" sldId="2147473665"/>
        </pc:sldMkLst>
        <pc:spChg chg="add mod">
          <ac:chgData name="Tường SKHĐT" userId="ab9568c39a88b08a" providerId="LiveId" clId="{209500A2-46D0-4A60-8122-7A5CF9743D09}" dt="2023-05-26T08:16:29.134" v="645" actId="20577"/>
          <ac:spMkLst>
            <pc:docMk/>
            <pc:sldMk cId="1822202143" sldId="2147473665"/>
            <ac:spMk id="3" creationId="{7014AAD7-136E-E7E6-DED8-851F926E5F08}"/>
          </ac:spMkLst>
        </pc:spChg>
        <pc:spChg chg="del">
          <ac:chgData name="Tường SKHĐT" userId="ab9568c39a88b08a" providerId="LiveId" clId="{209500A2-46D0-4A60-8122-7A5CF9743D09}" dt="2023-05-26T08:16:04.187" v="608" actId="478"/>
          <ac:spMkLst>
            <pc:docMk/>
            <pc:sldMk cId="1822202143" sldId="2147473665"/>
            <ac:spMk id="4" creationId="{25A5886A-12D5-0579-CB89-3CAC00C7D8EF}"/>
          </ac:spMkLst>
        </pc:spChg>
        <pc:spChg chg="del">
          <ac:chgData name="Tường SKHĐT" userId="ab9568c39a88b08a" providerId="LiveId" clId="{209500A2-46D0-4A60-8122-7A5CF9743D09}" dt="2023-05-26T08:16:04.187" v="608" actId="478"/>
          <ac:spMkLst>
            <pc:docMk/>
            <pc:sldMk cId="1822202143" sldId="2147473665"/>
            <ac:spMk id="6" creationId="{304E3239-2492-E5C2-B476-E4B9E81FD8FE}"/>
          </ac:spMkLst>
        </pc:spChg>
        <pc:graphicFrameChg chg="modGraphic">
          <ac:chgData name="Tường SKHĐT" userId="ab9568c39a88b08a" providerId="LiveId" clId="{209500A2-46D0-4A60-8122-7A5CF9743D09}" dt="2023-05-26T08:16:14.800" v="623" actId="12"/>
          <ac:graphicFrameMkLst>
            <pc:docMk/>
            <pc:sldMk cId="1822202143" sldId="2147473665"/>
            <ac:graphicFrameMk id="8" creationId="{B5E5335D-2EED-82AF-3A59-FAE8BB94EAE1}"/>
          </ac:graphicFrameMkLst>
        </pc:graphicFrameChg>
      </pc:sldChg>
      <pc:sldChg chg="addSp delSp modSp mod">
        <pc:chgData name="Tường SKHĐT" userId="ab9568c39a88b08a" providerId="LiveId" clId="{209500A2-46D0-4A60-8122-7A5CF9743D09}" dt="2023-05-26T08:19:02.528" v="668" actId="20577"/>
        <pc:sldMkLst>
          <pc:docMk/>
          <pc:sldMk cId="635207881" sldId="2147473670"/>
        </pc:sldMkLst>
        <pc:spChg chg="add mod">
          <ac:chgData name="Tường SKHĐT" userId="ab9568c39a88b08a" providerId="LiveId" clId="{209500A2-46D0-4A60-8122-7A5CF9743D09}" dt="2023-05-26T08:18:51.720" v="662"/>
          <ac:spMkLst>
            <pc:docMk/>
            <pc:sldMk cId="635207881" sldId="2147473670"/>
            <ac:spMk id="5" creationId="{28347602-FDB0-46C8-29EB-B0A21F5E71F1}"/>
          </ac:spMkLst>
        </pc:spChg>
        <pc:spChg chg="mod">
          <ac:chgData name="Tường SKHĐT" userId="ab9568c39a88b08a" providerId="LiveId" clId="{209500A2-46D0-4A60-8122-7A5CF9743D09}" dt="2023-05-26T08:19:02.528" v="668" actId="20577"/>
          <ac:spMkLst>
            <pc:docMk/>
            <pc:sldMk cId="635207881" sldId="2147473670"/>
            <ac:spMk id="6" creationId="{81D40E1E-E472-56C2-7A52-1D68B78E001A}"/>
          </ac:spMkLst>
        </pc:spChg>
        <pc:spChg chg="mod">
          <ac:chgData name="Tường SKHĐT" userId="ab9568c39a88b08a" providerId="LiveId" clId="{209500A2-46D0-4A60-8122-7A5CF9743D09}" dt="2023-05-26T08:18:59.383" v="665" actId="1076"/>
          <ac:spMkLst>
            <pc:docMk/>
            <pc:sldMk cId="635207881" sldId="2147473670"/>
            <ac:spMk id="12" creationId="{9770937D-1377-CC7E-CF4C-63302C488F3E}"/>
          </ac:spMkLst>
        </pc:spChg>
        <pc:graphicFrameChg chg="del">
          <ac:chgData name="Tường SKHĐT" userId="ab9568c39a88b08a" providerId="LiveId" clId="{209500A2-46D0-4A60-8122-7A5CF9743D09}" dt="2023-05-26T07:59:16.226" v="199" actId="21"/>
          <ac:graphicFrameMkLst>
            <pc:docMk/>
            <pc:sldMk cId="635207881" sldId="2147473670"/>
            <ac:graphicFrameMk id="3" creationId="{978F53B6-3EB6-9CAB-FD3C-5822181B7354}"/>
          </ac:graphicFrameMkLst>
        </pc:graphicFrameChg>
        <pc:graphicFrameChg chg="mod modGraphic">
          <ac:chgData name="Tường SKHĐT" userId="ab9568c39a88b08a" providerId="LiveId" clId="{209500A2-46D0-4A60-8122-7A5CF9743D09}" dt="2023-05-26T08:00:14.160" v="222" actId="1076"/>
          <ac:graphicFrameMkLst>
            <pc:docMk/>
            <pc:sldMk cId="635207881" sldId="2147473670"/>
            <ac:graphicFrameMk id="8" creationId="{B5E5335D-2EED-82AF-3A59-FAE8BB94EAE1}"/>
          </ac:graphicFrameMkLst>
        </pc:graphicFrameChg>
        <pc:picChg chg="add mod">
          <ac:chgData name="Tường SKHĐT" userId="ab9568c39a88b08a" providerId="LiveId" clId="{209500A2-46D0-4A60-8122-7A5CF9743D09}" dt="2023-05-26T08:00:10.266" v="221" actId="1076"/>
          <ac:picMkLst>
            <pc:docMk/>
            <pc:sldMk cId="635207881" sldId="2147473670"/>
            <ac:picMk id="4" creationId="{6FC098EF-C16A-239A-533E-490FA1A51880}"/>
          </ac:picMkLst>
        </pc:picChg>
        <pc:picChg chg="del">
          <ac:chgData name="Tường SKHĐT" userId="ab9568c39a88b08a" providerId="LiveId" clId="{209500A2-46D0-4A60-8122-7A5CF9743D09}" dt="2023-05-26T07:59:10.662" v="198" actId="21"/>
          <ac:picMkLst>
            <pc:docMk/>
            <pc:sldMk cId="635207881" sldId="2147473670"/>
            <ac:picMk id="7" creationId="{F605BE45-769C-6D8C-2F2A-4C5CC4C71994}"/>
          </ac:picMkLst>
        </pc:picChg>
      </pc:sldChg>
      <pc:sldChg chg="del">
        <pc:chgData name="Tường SKHĐT" userId="ab9568c39a88b08a" providerId="LiveId" clId="{209500A2-46D0-4A60-8122-7A5CF9743D09}" dt="2023-05-26T08:00:40.103" v="223" actId="2696"/>
        <pc:sldMkLst>
          <pc:docMk/>
          <pc:sldMk cId="1914560446" sldId="2147473671"/>
        </pc:sldMkLst>
      </pc:sldChg>
      <pc:sldChg chg="del">
        <pc:chgData name="Tường SKHĐT" userId="ab9568c39a88b08a" providerId="LiveId" clId="{209500A2-46D0-4A60-8122-7A5CF9743D09}" dt="2023-05-26T08:00:40.103" v="223" actId="2696"/>
        <pc:sldMkLst>
          <pc:docMk/>
          <pc:sldMk cId="3350433123" sldId="2147473672"/>
        </pc:sldMkLst>
      </pc:sldChg>
      <pc:sldChg chg="modSp mod">
        <pc:chgData name="Tường SKHĐT" userId="ab9568c39a88b08a" providerId="LiveId" clId="{209500A2-46D0-4A60-8122-7A5CF9743D09}" dt="2023-05-26T08:19:08.753" v="672" actId="20577"/>
        <pc:sldMkLst>
          <pc:docMk/>
          <pc:sldMk cId="293803616" sldId="2147473681"/>
        </pc:sldMkLst>
        <pc:spChg chg="mod">
          <ac:chgData name="Tường SKHĐT" userId="ab9568c39a88b08a" providerId="LiveId" clId="{209500A2-46D0-4A60-8122-7A5CF9743D09}" dt="2023-05-26T08:19:06.547" v="670" actId="20577"/>
          <ac:spMkLst>
            <pc:docMk/>
            <pc:sldMk cId="293803616" sldId="2147473681"/>
            <ac:spMk id="6" creationId="{93EF2A67-E697-52DD-6F39-0BAEA5AC34EE}"/>
          </ac:spMkLst>
        </pc:spChg>
        <pc:spChg chg="mod">
          <ac:chgData name="Tường SKHĐT" userId="ab9568c39a88b08a" providerId="LiveId" clId="{209500A2-46D0-4A60-8122-7A5CF9743D09}" dt="2023-05-26T08:19:08.753" v="672" actId="20577"/>
          <ac:spMkLst>
            <pc:docMk/>
            <pc:sldMk cId="293803616" sldId="2147473681"/>
            <ac:spMk id="10" creationId="{25C96158-722F-D4BE-94A7-161452760777}"/>
          </ac:spMkLst>
        </pc:spChg>
      </pc:sldChg>
      <pc:sldChg chg="delSp modSp mod">
        <pc:chgData name="Tường SKHĐT" userId="ab9568c39a88b08a" providerId="LiveId" clId="{209500A2-46D0-4A60-8122-7A5CF9743D09}" dt="2023-05-26T08:28:01.455" v="756" actId="1076"/>
        <pc:sldMkLst>
          <pc:docMk/>
          <pc:sldMk cId="3956457276" sldId="2147473683"/>
        </pc:sldMkLst>
        <pc:spChg chg="mod">
          <ac:chgData name="Tường SKHĐT" userId="ab9568c39a88b08a" providerId="LiveId" clId="{209500A2-46D0-4A60-8122-7A5CF9743D09}" dt="2023-05-26T08:28:01.455" v="756" actId="1076"/>
          <ac:spMkLst>
            <pc:docMk/>
            <pc:sldMk cId="3956457276" sldId="2147473683"/>
            <ac:spMk id="2" creationId="{A49FA47D-1679-133E-0301-5CFB76FC4F8D}"/>
          </ac:spMkLst>
        </pc:spChg>
        <pc:spChg chg="del">
          <ac:chgData name="Tường SKHĐT" userId="ab9568c39a88b08a" providerId="LiveId" clId="{209500A2-46D0-4A60-8122-7A5CF9743D09}" dt="2023-05-26T08:27:55.749" v="754" actId="21"/>
          <ac:spMkLst>
            <pc:docMk/>
            <pc:sldMk cId="3956457276" sldId="2147473683"/>
            <ac:spMk id="5" creationId="{A5E63777-D9B0-CC7C-4534-85577A499B18}"/>
          </ac:spMkLst>
        </pc:spChg>
        <pc:graphicFrameChg chg="mod">
          <ac:chgData name="Tường SKHĐT" userId="ab9568c39a88b08a" providerId="LiveId" clId="{209500A2-46D0-4A60-8122-7A5CF9743D09}" dt="2023-05-26T08:27:58.715" v="755" actId="1076"/>
          <ac:graphicFrameMkLst>
            <pc:docMk/>
            <pc:sldMk cId="3956457276" sldId="2147473683"/>
            <ac:graphicFrameMk id="6" creationId="{00000000-0000-0000-0000-000000000000}"/>
          </ac:graphicFrameMkLst>
        </pc:graphicFrameChg>
        <pc:cxnChg chg="del">
          <ac:chgData name="Tường SKHĐT" userId="ab9568c39a88b08a" providerId="LiveId" clId="{209500A2-46D0-4A60-8122-7A5CF9743D09}" dt="2023-05-26T08:27:55.749" v="754" actId="21"/>
          <ac:cxnSpMkLst>
            <pc:docMk/>
            <pc:sldMk cId="3956457276" sldId="2147473683"/>
            <ac:cxnSpMk id="10" creationId="{9923AE74-1EB9-B8B8-7F10-C195957B00FF}"/>
          </ac:cxnSpMkLst>
        </pc:cxnChg>
      </pc:sldChg>
      <pc:sldChg chg="del">
        <pc:chgData name="Tường SKHĐT" userId="ab9568c39a88b08a" providerId="LiveId" clId="{209500A2-46D0-4A60-8122-7A5CF9743D09}" dt="2023-05-26T08:01:00.309" v="225" actId="2696"/>
        <pc:sldMkLst>
          <pc:docMk/>
          <pc:sldMk cId="3857576820" sldId="2147473684"/>
        </pc:sldMkLst>
      </pc:sldChg>
      <pc:sldChg chg="addSp delSp modSp mod">
        <pc:chgData name="Tường SKHĐT" userId="ab9568c39a88b08a" providerId="LiveId" clId="{209500A2-46D0-4A60-8122-7A5CF9743D09}" dt="2023-05-26T08:19:15.816" v="676" actId="20577"/>
        <pc:sldMkLst>
          <pc:docMk/>
          <pc:sldMk cId="2676458148" sldId="2147473686"/>
        </pc:sldMkLst>
        <pc:spChg chg="del">
          <ac:chgData name="Tường SKHĐT" userId="ab9568c39a88b08a" providerId="LiveId" clId="{209500A2-46D0-4A60-8122-7A5CF9743D09}" dt="2023-05-26T08:13:17.063" v="516" actId="478"/>
          <ac:spMkLst>
            <pc:docMk/>
            <pc:sldMk cId="2676458148" sldId="2147473686"/>
            <ac:spMk id="3" creationId="{71A1B9FE-DFCB-A29B-0AD9-F9676FA9DC8D}"/>
          </ac:spMkLst>
        </pc:spChg>
        <pc:spChg chg="mod">
          <ac:chgData name="Tường SKHĐT" userId="ab9568c39a88b08a" providerId="LiveId" clId="{209500A2-46D0-4A60-8122-7A5CF9743D09}" dt="2023-05-26T08:19:14.820" v="674" actId="20577"/>
          <ac:spMkLst>
            <pc:docMk/>
            <pc:sldMk cId="2676458148" sldId="2147473686"/>
            <ac:spMk id="6" creationId="{1CB0CB7C-2336-84B1-57C9-3361036915F6}"/>
          </ac:spMkLst>
        </pc:spChg>
        <pc:spChg chg="mod">
          <ac:chgData name="Tường SKHĐT" userId="ab9568c39a88b08a" providerId="LiveId" clId="{209500A2-46D0-4A60-8122-7A5CF9743D09}" dt="2023-05-26T08:19:15.816" v="676" actId="20577"/>
          <ac:spMkLst>
            <pc:docMk/>
            <pc:sldMk cId="2676458148" sldId="2147473686"/>
            <ac:spMk id="7" creationId="{C04F4D96-45AD-953D-5897-218BC956CD36}"/>
          </ac:spMkLst>
        </pc:spChg>
        <pc:graphicFrameChg chg="del">
          <ac:chgData name="Tường SKHĐT" userId="ab9568c39a88b08a" providerId="LiveId" clId="{209500A2-46D0-4A60-8122-7A5CF9743D09}" dt="2023-05-26T08:13:17.063" v="516" actId="478"/>
          <ac:graphicFrameMkLst>
            <pc:docMk/>
            <pc:sldMk cId="2676458148" sldId="2147473686"/>
            <ac:graphicFrameMk id="2" creationId="{7B70EAB1-08A9-24DB-D444-B254D15A656F}"/>
          </ac:graphicFrameMkLst>
        </pc:graphicFrameChg>
        <pc:graphicFrameChg chg="mod modGraphic">
          <ac:chgData name="Tường SKHĐT" userId="ab9568c39a88b08a" providerId="LiveId" clId="{209500A2-46D0-4A60-8122-7A5CF9743D09}" dt="2023-05-26T08:14:56.508" v="583" actId="20577"/>
          <ac:graphicFrameMkLst>
            <pc:docMk/>
            <pc:sldMk cId="2676458148" sldId="2147473686"/>
            <ac:graphicFrameMk id="8" creationId="{B5E5335D-2EED-82AF-3A59-FAE8BB94EAE1}"/>
          </ac:graphicFrameMkLst>
        </pc:graphicFrameChg>
        <pc:picChg chg="del">
          <ac:chgData name="Tường SKHĐT" userId="ab9568c39a88b08a" providerId="LiveId" clId="{209500A2-46D0-4A60-8122-7A5CF9743D09}" dt="2023-05-26T08:13:22.716" v="517" actId="21"/>
          <ac:picMkLst>
            <pc:docMk/>
            <pc:sldMk cId="2676458148" sldId="2147473686"/>
            <ac:picMk id="5" creationId="{1D012F1F-2D3E-DB73-FB3D-9CF264845674}"/>
          </ac:picMkLst>
        </pc:picChg>
        <pc:picChg chg="add mod">
          <ac:chgData name="Tường SKHĐT" userId="ab9568c39a88b08a" providerId="LiveId" clId="{209500A2-46D0-4A60-8122-7A5CF9743D09}" dt="2023-05-26T08:14:23.369" v="526" actId="14100"/>
          <ac:picMkLst>
            <pc:docMk/>
            <pc:sldMk cId="2676458148" sldId="2147473686"/>
            <ac:picMk id="9" creationId="{C87DD715-6CD4-9772-A721-597F4A9A577A}"/>
          </ac:picMkLst>
        </pc:picChg>
      </pc:sldChg>
      <pc:sldChg chg="del">
        <pc:chgData name="Tường SKHĐT" userId="ab9568c39a88b08a" providerId="LiveId" clId="{209500A2-46D0-4A60-8122-7A5CF9743D09}" dt="2023-05-26T08:01:17.529" v="229" actId="2696"/>
        <pc:sldMkLst>
          <pc:docMk/>
          <pc:sldMk cId="9563895" sldId="2147473687"/>
        </pc:sldMkLst>
      </pc:sldChg>
      <pc:sldChg chg="del">
        <pc:chgData name="Tường SKHĐT" userId="ab9568c39a88b08a" providerId="LiveId" clId="{209500A2-46D0-4A60-8122-7A5CF9743D09}" dt="2023-05-26T08:01:17.529" v="229" actId="2696"/>
        <pc:sldMkLst>
          <pc:docMk/>
          <pc:sldMk cId="352671836" sldId="2147473688"/>
        </pc:sldMkLst>
      </pc:sldChg>
      <pc:sldChg chg="del">
        <pc:chgData name="Tường SKHĐT" userId="ab9568c39a88b08a" providerId="LiveId" clId="{209500A2-46D0-4A60-8122-7A5CF9743D09}" dt="2023-05-26T08:01:17.529" v="229" actId="2696"/>
        <pc:sldMkLst>
          <pc:docMk/>
          <pc:sldMk cId="872245245" sldId="2147473689"/>
        </pc:sldMkLst>
      </pc:sldChg>
      <pc:sldChg chg="modSp del mod">
        <pc:chgData name="Tường SKHĐT" userId="ab9568c39a88b08a" providerId="LiveId" clId="{209500A2-46D0-4A60-8122-7A5CF9743D09}" dt="2023-05-26T08:01:52.007" v="234" actId="2696"/>
        <pc:sldMkLst>
          <pc:docMk/>
          <pc:sldMk cId="1100242652" sldId="2147473690"/>
        </pc:sldMkLst>
        <pc:spChg chg="mod">
          <ac:chgData name="Tường SKHĐT" userId="ab9568c39a88b08a" providerId="LiveId" clId="{209500A2-46D0-4A60-8122-7A5CF9743D09}" dt="2023-05-26T08:01:43.982" v="232" actId="14100"/>
          <ac:spMkLst>
            <pc:docMk/>
            <pc:sldMk cId="1100242652" sldId="2147473690"/>
            <ac:spMk id="9" creationId="{64F6FF76-FE74-0506-286A-B4F3B9584380}"/>
          </ac:spMkLst>
        </pc:spChg>
      </pc:sldChg>
      <pc:sldChg chg="addSp delSp modSp mod">
        <pc:chgData name="Tường SKHĐT" userId="ab9568c39a88b08a" providerId="LiveId" clId="{209500A2-46D0-4A60-8122-7A5CF9743D09}" dt="2023-05-26T08:19:25.629" v="680" actId="20577"/>
        <pc:sldMkLst>
          <pc:docMk/>
          <pc:sldMk cId="3869321635" sldId="2147473691"/>
        </pc:sldMkLst>
        <pc:spChg chg="del">
          <ac:chgData name="Tường SKHĐT" userId="ab9568c39a88b08a" providerId="LiveId" clId="{209500A2-46D0-4A60-8122-7A5CF9743D09}" dt="2023-05-26T08:03:36.439" v="266" actId="21"/>
          <ac:spMkLst>
            <pc:docMk/>
            <pc:sldMk cId="3869321635" sldId="2147473691"/>
            <ac:spMk id="2" creationId="{2869EFDB-E75B-1AD0-5D1C-21236FF3D88F}"/>
          </ac:spMkLst>
        </pc:spChg>
        <pc:spChg chg="mod">
          <ac:chgData name="Tường SKHĐT" userId="ab9568c39a88b08a" providerId="LiveId" clId="{209500A2-46D0-4A60-8122-7A5CF9743D09}" dt="2023-05-26T08:03:40.855" v="291" actId="1037"/>
          <ac:spMkLst>
            <pc:docMk/>
            <pc:sldMk cId="3869321635" sldId="2147473691"/>
            <ac:spMk id="6" creationId="{7638DBE2-02E0-C5B8-EE5C-7DE38C251E3C}"/>
          </ac:spMkLst>
        </pc:spChg>
        <pc:spChg chg="mod">
          <ac:chgData name="Tường SKHĐT" userId="ab9568c39a88b08a" providerId="LiveId" clId="{209500A2-46D0-4A60-8122-7A5CF9743D09}" dt="2023-05-26T08:19:25.629" v="680" actId="20577"/>
          <ac:spMkLst>
            <pc:docMk/>
            <pc:sldMk cId="3869321635" sldId="2147473691"/>
            <ac:spMk id="10" creationId="{08D1F23D-4BF7-7D43-F844-5EFB52DBDE43}"/>
          </ac:spMkLst>
        </pc:spChg>
        <pc:graphicFrameChg chg="del">
          <ac:chgData name="Tường SKHĐT" userId="ab9568c39a88b08a" providerId="LiveId" clId="{209500A2-46D0-4A60-8122-7A5CF9743D09}" dt="2023-05-26T08:02:54.518" v="259" actId="21"/>
          <ac:graphicFrameMkLst>
            <pc:docMk/>
            <pc:sldMk cId="3869321635" sldId="2147473691"/>
            <ac:graphicFrameMk id="3" creationId="{DB85112A-BCF5-DB97-64C1-0A654340D908}"/>
          </ac:graphicFrameMkLst>
        </pc:graphicFrameChg>
        <pc:picChg chg="add mod">
          <ac:chgData name="Tường SKHĐT" userId="ab9568c39a88b08a" providerId="LiveId" clId="{209500A2-46D0-4A60-8122-7A5CF9743D09}" dt="2023-05-26T08:03:44.835" v="293" actId="1076"/>
          <ac:picMkLst>
            <pc:docMk/>
            <pc:sldMk cId="3869321635" sldId="2147473691"/>
            <ac:picMk id="5" creationId="{D7D192ED-A090-3C6F-3CA7-2C3CDBC37FF3}"/>
          </ac:picMkLst>
        </pc:picChg>
      </pc:sldChg>
      <pc:sldChg chg="del">
        <pc:chgData name="Tường SKHĐT" userId="ab9568c39a88b08a" providerId="LiveId" clId="{209500A2-46D0-4A60-8122-7A5CF9743D09}" dt="2023-05-26T04:26:47.524" v="87" actId="2696"/>
        <pc:sldMkLst>
          <pc:docMk/>
          <pc:sldMk cId="1831458255" sldId="2147473692"/>
        </pc:sldMkLst>
      </pc:sldChg>
      <pc:sldChg chg="modSp del mod">
        <pc:chgData name="Tường SKHĐT" userId="ab9568c39a88b08a" providerId="LiveId" clId="{209500A2-46D0-4A60-8122-7A5CF9743D09}" dt="2023-05-26T08:42:11.304" v="1019" actId="2696"/>
        <pc:sldMkLst>
          <pc:docMk/>
          <pc:sldMk cId="1214075778" sldId="2147473693"/>
        </pc:sldMkLst>
        <pc:spChg chg="mod">
          <ac:chgData name="Tường SKHĐT" userId="ab9568c39a88b08a" providerId="LiveId" clId="{209500A2-46D0-4A60-8122-7A5CF9743D09}" dt="2023-05-26T08:19:32.035" v="684" actId="20577"/>
          <ac:spMkLst>
            <pc:docMk/>
            <pc:sldMk cId="1214075778" sldId="2147473693"/>
            <ac:spMk id="4" creationId="{42BBD3F5-2717-BBB3-65AD-94A85B7B6BED}"/>
          </ac:spMkLst>
        </pc:spChg>
        <pc:spChg chg="mod">
          <ac:chgData name="Tường SKHĐT" userId="ab9568c39a88b08a" providerId="LiveId" clId="{209500A2-46D0-4A60-8122-7A5CF9743D09}" dt="2023-05-26T08:19:30.618" v="682" actId="20577"/>
          <ac:spMkLst>
            <pc:docMk/>
            <pc:sldMk cId="1214075778" sldId="2147473693"/>
            <ac:spMk id="25" creationId="{01DC26C3-E6F4-C27A-8624-3A65D81B6008}"/>
          </ac:spMkLst>
        </pc:spChg>
      </pc:sldChg>
      <pc:sldChg chg="modSp del mod">
        <pc:chgData name="Tường SKHĐT" userId="ab9568c39a88b08a" providerId="LiveId" clId="{209500A2-46D0-4A60-8122-7A5CF9743D09}" dt="2023-05-26T08:42:06.898" v="1018" actId="2696"/>
        <pc:sldMkLst>
          <pc:docMk/>
          <pc:sldMk cId="683821594" sldId="2147473694"/>
        </pc:sldMkLst>
        <pc:spChg chg="mod">
          <ac:chgData name="Tường SKHĐT" userId="ab9568c39a88b08a" providerId="LiveId" clId="{209500A2-46D0-4A60-8122-7A5CF9743D09}" dt="2023-05-26T08:19:43.843" v="686" actId="20577"/>
          <ac:spMkLst>
            <pc:docMk/>
            <pc:sldMk cId="683821594" sldId="2147473694"/>
            <ac:spMk id="2" creationId="{DA282F85-6A26-95C2-3190-5C75971B95B2}"/>
          </ac:spMkLst>
        </pc:spChg>
        <pc:spChg chg="mod">
          <ac:chgData name="Tường SKHĐT" userId="ab9568c39a88b08a" providerId="LiveId" clId="{209500A2-46D0-4A60-8122-7A5CF9743D09}" dt="2023-05-26T08:19:42.437" v="685" actId="20577"/>
          <ac:spMkLst>
            <pc:docMk/>
            <pc:sldMk cId="683821594" sldId="2147473694"/>
            <ac:spMk id="29" creationId="{B8A067BD-3E2D-578D-5BC7-4960023DDC1E}"/>
          </ac:spMkLst>
        </pc:spChg>
      </pc:sldChg>
      <pc:sldChg chg="modSp del mod">
        <pc:chgData name="Tường SKHĐT" userId="ab9568c39a88b08a" providerId="LiveId" clId="{209500A2-46D0-4A60-8122-7A5CF9743D09}" dt="2023-05-26T08:39:51.166" v="928" actId="2696"/>
        <pc:sldMkLst>
          <pc:docMk/>
          <pc:sldMk cId="2211563581" sldId="2147473695"/>
        </pc:sldMkLst>
        <pc:spChg chg="mod">
          <ac:chgData name="Tường SKHĐT" userId="ab9568c39a88b08a" providerId="LiveId" clId="{209500A2-46D0-4A60-8122-7A5CF9743D09}" dt="2023-05-26T08:19:46.764" v="687" actId="20577"/>
          <ac:spMkLst>
            <pc:docMk/>
            <pc:sldMk cId="2211563581" sldId="2147473695"/>
            <ac:spMk id="10" creationId="{1E8E499E-810A-C1D3-5424-E1F935128A77}"/>
          </ac:spMkLst>
        </pc:spChg>
        <pc:spChg chg="mod">
          <ac:chgData name="Tường SKHĐT" userId="ab9568c39a88b08a" providerId="LiveId" clId="{209500A2-46D0-4A60-8122-7A5CF9743D09}" dt="2023-05-26T08:19:47.766" v="688" actId="20577"/>
          <ac:spMkLst>
            <pc:docMk/>
            <pc:sldMk cId="2211563581" sldId="2147473695"/>
            <ac:spMk id="11" creationId="{C1F29618-6A2A-EFE2-3A1E-A88CCAC7B92C}"/>
          </ac:spMkLst>
        </pc:spChg>
      </pc:sldChg>
      <pc:sldChg chg="del">
        <pc:chgData name="Tường SKHĐT" userId="ab9568c39a88b08a" providerId="LiveId" clId="{209500A2-46D0-4A60-8122-7A5CF9743D09}" dt="2023-05-26T04:27:28.332" v="89" actId="2696"/>
        <pc:sldMkLst>
          <pc:docMk/>
          <pc:sldMk cId="273950832" sldId="2147473696"/>
        </pc:sldMkLst>
      </pc:sldChg>
      <pc:sldChg chg="del">
        <pc:chgData name="Tường SKHĐT" userId="ab9568c39a88b08a" providerId="LiveId" clId="{209500A2-46D0-4A60-8122-7A5CF9743D09}" dt="2023-05-26T08:01:03.379" v="226" actId="2696"/>
        <pc:sldMkLst>
          <pc:docMk/>
          <pc:sldMk cId="4134250126" sldId="2147473697"/>
        </pc:sldMkLst>
      </pc:sldChg>
      <pc:sldChg chg="del">
        <pc:chgData name="Tường SKHĐT" userId="ab9568c39a88b08a" providerId="LiveId" clId="{209500A2-46D0-4A60-8122-7A5CF9743D09}" dt="2023-05-26T08:45:26.580" v="1020" actId="2696"/>
        <pc:sldMkLst>
          <pc:docMk/>
          <pc:sldMk cId="67746271" sldId="2147473699"/>
        </pc:sldMkLst>
      </pc:sldChg>
      <pc:sldChg chg="modSp mod">
        <pc:chgData name="Tường SKHĐT" userId="ab9568c39a88b08a" providerId="LiveId" clId="{209500A2-46D0-4A60-8122-7A5CF9743D09}" dt="2023-05-26T08:26:41.396" v="718" actId="20577"/>
        <pc:sldMkLst>
          <pc:docMk/>
          <pc:sldMk cId="114303837" sldId="2147473702"/>
        </pc:sldMkLst>
        <pc:spChg chg="mod">
          <ac:chgData name="Tường SKHĐT" userId="ab9568c39a88b08a" providerId="LiveId" clId="{209500A2-46D0-4A60-8122-7A5CF9743D09}" dt="2023-05-26T08:26:41.396" v="718" actId="20577"/>
          <ac:spMkLst>
            <pc:docMk/>
            <pc:sldMk cId="114303837" sldId="2147473702"/>
            <ac:spMk id="2" creationId="{EBBA6DF3-6639-B734-F18D-B46A001E2EFE}"/>
          </ac:spMkLst>
        </pc:spChg>
        <pc:spChg chg="mod">
          <ac:chgData name="Tường SKHĐT" userId="ab9568c39a88b08a" providerId="LiveId" clId="{209500A2-46D0-4A60-8122-7A5CF9743D09}" dt="2023-05-26T08:19:56.383" v="690" actId="20577"/>
          <ac:spMkLst>
            <pc:docMk/>
            <pc:sldMk cId="114303837" sldId="2147473702"/>
            <ac:spMk id="3" creationId="{CDDF5701-ACE3-5F2B-B2AC-E34EB0595AFE}"/>
          </ac:spMkLst>
        </pc:spChg>
      </pc:sldChg>
      <pc:sldChg chg="del">
        <pc:chgData name="Tường SKHĐT" userId="ab9568c39a88b08a" providerId="LiveId" clId="{209500A2-46D0-4A60-8122-7A5CF9743D09}" dt="2023-05-26T08:00:57.025" v="224" actId="2696"/>
        <pc:sldMkLst>
          <pc:docMk/>
          <pc:sldMk cId="2166843381" sldId="2147473703"/>
        </pc:sldMkLst>
      </pc:sldChg>
      <pc:sldChg chg="modSp mod">
        <pc:chgData name="Tường SKHĐT" userId="ab9568c39a88b08a" providerId="LiveId" clId="{209500A2-46D0-4A60-8122-7A5CF9743D09}" dt="2023-05-26T07:50:11.658" v="118" actId="1076"/>
        <pc:sldMkLst>
          <pc:docMk/>
          <pc:sldMk cId="1628374629" sldId="2147473704"/>
        </pc:sldMkLst>
        <pc:graphicFrameChg chg="mod">
          <ac:chgData name="Tường SKHĐT" userId="ab9568c39a88b08a" providerId="LiveId" clId="{209500A2-46D0-4A60-8122-7A5CF9743D09}" dt="2023-05-26T07:50:11.658" v="118" actId="1076"/>
          <ac:graphicFrameMkLst>
            <pc:docMk/>
            <pc:sldMk cId="1628374629" sldId="2147473704"/>
            <ac:graphicFrameMk id="2" creationId="{FBFFDBCD-49A2-B604-F9E9-B81E95DF4EB5}"/>
          </ac:graphicFrameMkLst>
        </pc:graphicFrameChg>
      </pc:sldChg>
      <pc:sldChg chg="del">
        <pc:chgData name="Tường SKHĐT" userId="ab9568c39a88b08a" providerId="LiveId" clId="{209500A2-46D0-4A60-8122-7A5CF9743D09}" dt="2023-05-26T08:28:20.892" v="759" actId="2696"/>
        <pc:sldMkLst>
          <pc:docMk/>
          <pc:sldMk cId="707910758" sldId="2147473706"/>
        </pc:sldMkLst>
      </pc:sldChg>
      <pc:sldChg chg="delSp modSp mod">
        <pc:chgData name="Tường SKHĐT" userId="ab9568c39a88b08a" providerId="LiveId" clId="{209500A2-46D0-4A60-8122-7A5CF9743D09}" dt="2023-05-26T08:28:28.634" v="762" actId="14100"/>
        <pc:sldMkLst>
          <pc:docMk/>
          <pc:sldMk cId="1384294736" sldId="2147473707"/>
        </pc:sldMkLst>
        <pc:spChg chg="del">
          <ac:chgData name="Tường SKHĐT" userId="ab9568c39a88b08a" providerId="LiveId" clId="{209500A2-46D0-4A60-8122-7A5CF9743D09}" dt="2023-05-26T08:28:24.432" v="760" actId="21"/>
          <ac:spMkLst>
            <pc:docMk/>
            <pc:sldMk cId="1384294736" sldId="2147473707"/>
            <ac:spMk id="3" creationId="{DDCD32B3-A3FB-948B-6323-63F96EA817F8}"/>
          </ac:spMkLst>
        </pc:spChg>
        <pc:graphicFrameChg chg="mod">
          <ac:chgData name="Tường SKHĐT" userId="ab9568c39a88b08a" providerId="LiveId" clId="{209500A2-46D0-4A60-8122-7A5CF9743D09}" dt="2023-05-26T08:28:28.634" v="762" actId="14100"/>
          <ac:graphicFrameMkLst>
            <pc:docMk/>
            <pc:sldMk cId="1384294736" sldId="2147473707"/>
            <ac:graphicFrameMk id="6" creationId="{00000000-0000-0000-0000-000000000000}"/>
          </ac:graphicFrameMkLst>
        </pc:graphicFrameChg>
        <pc:cxnChg chg="del">
          <ac:chgData name="Tường SKHĐT" userId="ab9568c39a88b08a" providerId="LiveId" clId="{209500A2-46D0-4A60-8122-7A5CF9743D09}" dt="2023-05-26T08:28:24.432" v="760" actId="21"/>
          <ac:cxnSpMkLst>
            <pc:docMk/>
            <pc:sldMk cId="1384294736" sldId="2147473707"/>
            <ac:cxnSpMk id="5" creationId="{A250599A-DC75-597C-6156-E69FFFB3F75E}"/>
          </ac:cxnSpMkLst>
        </pc:cxnChg>
      </pc:sldChg>
      <pc:sldChg chg="delSp modSp mod">
        <pc:chgData name="Tường SKHĐT" userId="ab9568c39a88b08a" providerId="LiveId" clId="{209500A2-46D0-4A60-8122-7A5CF9743D09}" dt="2023-05-26T08:28:09.435" v="758" actId="1076"/>
        <pc:sldMkLst>
          <pc:docMk/>
          <pc:sldMk cId="3055150034" sldId="2147473708"/>
        </pc:sldMkLst>
        <pc:spChg chg="del">
          <ac:chgData name="Tường SKHĐT" userId="ab9568c39a88b08a" providerId="LiveId" clId="{209500A2-46D0-4A60-8122-7A5CF9743D09}" dt="2023-05-26T08:28:06.808" v="757" actId="21"/>
          <ac:spMkLst>
            <pc:docMk/>
            <pc:sldMk cId="3055150034" sldId="2147473708"/>
            <ac:spMk id="5" creationId="{A5E63777-D9B0-CC7C-4534-85577A499B18}"/>
          </ac:spMkLst>
        </pc:spChg>
        <pc:graphicFrameChg chg="mod">
          <ac:chgData name="Tường SKHĐT" userId="ab9568c39a88b08a" providerId="LiveId" clId="{209500A2-46D0-4A60-8122-7A5CF9743D09}" dt="2023-05-26T08:28:09.435" v="758" actId="1076"/>
          <ac:graphicFrameMkLst>
            <pc:docMk/>
            <pc:sldMk cId="3055150034" sldId="2147473708"/>
            <ac:graphicFrameMk id="6" creationId="{00000000-0000-0000-0000-000000000000}"/>
          </ac:graphicFrameMkLst>
        </pc:graphicFrameChg>
        <pc:cxnChg chg="del">
          <ac:chgData name="Tường SKHĐT" userId="ab9568c39a88b08a" providerId="LiveId" clId="{209500A2-46D0-4A60-8122-7A5CF9743D09}" dt="2023-05-26T08:28:06.808" v="757" actId="21"/>
          <ac:cxnSpMkLst>
            <pc:docMk/>
            <pc:sldMk cId="3055150034" sldId="2147473708"/>
            <ac:cxnSpMk id="10" creationId="{9923AE74-1EB9-B8B8-7F10-C195957B00FF}"/>
          </ac:cxnSpMkLst>
        </pc:cxnChg>
      </pc:sldChg>
      <pc:sldChg chg="del">
        <pc:chgData name="Tường SKHĐT" userId="ab9568c39a88b08a" providerId="LiveId" clId="{209500A2-46D0-4A60-8122-7A5CF9743D09}" dt="2023-05-26T08:29:14.605" v="773" actId="2696"/>
        <pc:sldMkLst>
          <pc:docMk/>
          <pc:sldMk cId="734397592" sldId="2147473709"/>
        </pc:sldMkLst>
      </pc:sldChg>
      <pc:sldChg chg="delSp modSp mod">
        <pc:chgData name="Tường SKHĐT" userId="ab9568c39a88b08a" providerId="LiveId" clId="{209500A2-46D0-4A60-8122-7A5CF9743D09}" dt="2023-05-26T08:20:19.543" v="704" actId="20577"/>
        <pc:sldMkLst>
          <pc:docMk/>
          <pc:sldMk cId="603705395" sldId="2147473711"/>
        </pc:sldMkLst>
        <pc:spChg chg="del">
          <ac:chgData name="Tường SKHĐT" userId="ab9568c39a88b08a" providerId="LiveId" clId="{209500A2-46D0-4A60-8122-7A5CF9743D09}" dt="2023-05-26T08:07:59.932" v="407" actId="21"/>
          <ac:spMkLst>
            <pc:docMk/>
            <pc:sldMk cId="603705395" sldId="2147473711"/>
            <ac:spMk id="5" creationId="{13C6177D-64B9-5B4D-AA6B-571EB29BED77}"/>
          </ac:spMkLst>
        </pc:spChg>
        <pc:spChg chg="mod">
          <ac:chgData name="Tường SKHĐT" userId="ab9568c39a88b08a" providerId="LiveId" clId="{209500A2-46D0-4A60-8122-7A5CF9743D09}" dt="2023-05-26T08:20:19.543" v="704" actId="20577"/>
          <ac:spMkLst>
            <pc:docMk/>
            <pc:sldMk cId="603705395" sldId="2147473711"/>
            <ac:spMk id="6" creationId="{AD8FCB44-5401-4810-551D-B0072A6956BA}"/>
          </ac:spMkLst>
        </pc:spChg>
        <pc:graphicFrameChg chg="modGraphic">
          <ac:chgData name="Tường SKHĐT" userId="ab9568c39a88b08a" providerId="LiveId" clId="{209500A2-46D0-4A60-8122-7A5CF9743D09}" dt="2023-05-26T04:30:55.932" v="117" actId="20577"/>
          <ac:graphicFrameMkLst>
            <pc:docMk/>
            <pc:sldMk cId="603705395" sldId="2147473711"/>
            <ac:graphicFrameMk id="10" creationId="{83C0D92A-467E-3F41-0043-586F35EFB2C8}"/>
          </ac:graphicFrameMkLst>
        </pc:graphicFrameChg>
      </pc:sldChg>
      <pc:sldChg chg="del">
        <pc:chgData name="Tường SKHĐT" userId="ab9568c39a88b08a" providerId="LiveId" clId="{209500A2-46D0-4A60-8122-7A5CF9743D09}" dt="2023-05-26T08:01:05.577" v="227" actId="2696"/>
        <pc:sldMkLst>
          <pc:docMk/>
          <pc:sldMk cId="3437564798" sldId="2147473715"/>
        </pc:sldMkLst>
      </pc:sldChg>
      <pc:sldChg chg="del">
        <pc:chgData name="Tường SKHĐT" userId="ab9568c39a88b08a" providerId="LiveId" clId="{209500A2-46D0-4A60-8122-7A5CF9743D09}" dt="2023-05-26T04:27:10.836" v="88" actId="2696"/>
        <pc:sldMkLst>
          <pc:docMk/>
          <pc:sldMk cId="1186956175" sldId="2147473720"/>
        </pc:sldMkLst>
      </pc:sldChg>
      <pc:sldChg chg="delSp modSp mod">
        <pc:chgData name="Tường SKHĐT" userId="ab9568c39a88b08a" providerId="LiveId" clId="{209500A2-46D0-4A60-8122-7A5CF9743D09}" dt="2023-05-26T08:36:14.276" v="783" actId="20577"/>
        <pc:sldMkLst>
          <pc:docMk/>
          <pc:sldMk cId="912302037" sldId="2147473721"/>
        </pc:sldMkLst>
        <pc:spChg chg="mod">
          <ac:chgData name="Tường SKHĐT" userId="ab9568c39a88b08a" providerId="LiveId" clId="{209500A2-46D0-4A60-8122-7A5CF9743D09}" dt="2023-05-26T08:36:14.276" v="783" actId="20577"/>
          <ac:spMkLst>
            <pc:docMk/>
            <pc:sldMk cId="912302037" sldId="2147473721"/>
            <ac:spMk id="2" creationId="{D73C606B-AAEF-247E-530A-5EAC9C46FF0B}"/>
          </ac:spMkLst>
        </pc:spChg>
        <pc:spChg chg="del">
          <ac:chgData name="Tường SKHĐT" userId="ab9568c39a88b08a" providerId="LiveId" clId="{209500A2-46D0-4A60-8122-7A5CF9743D09}" dt="2023-05-26T08:29:32.704" v="777" actId="21"/>
          <ac:spMkLst>
            <pc:docMk/>
            <pc:sldMk cId="912302037" sldId="2147473721"/>
            <ac:spMk id="3" creationId="{1F516AD9-C8BB-C766-C890-38C507C25E6D}"/>
          </ac:spMkLst>
        </pc:spChg>
        <pc:graphicFrameChg chg="mod">
          <ac:chgData name="Tường SKHĐT" userId="ab9568c39a88b08a" providerId="LiveId" clId="{209500A2-46D0-4A60-8122-7A5CF9743D09}" dt="2023-05-26T08:29:36.995" v="778" actId="1076"/>
          <ac:graphicFrameMkLst>
            <pc:docMk/>
            <pc:sldMk cId="912302037" sldId="2147473721"/>
            <ac:graphicFrameMk id="6" creationId="{00000000-0000-0000-0000-000000000000}"/>
          </ac:graphicFrameMkLst>
        </pc:graphicFrameChg>
        <pc:cxnChg chg="del">
          <ac:chgData name="Tường SKHĐT" userId="ab9568c39a88b08a" providerId="LiveId" clId="{209500A2-46D0-4A60-8122-7A5CF9743D09}" dt="2023-05-26T08:29:32.704" v="777" actId="21"/>
          <ac:cxnSpMkLst>
            <pc:docMk/>
            <pc:sldMk cId="912302037" sldId="2147473721"/>
            <ac:cxnSpMk id="5" creationId="{FABA730E-F86F-88FC-599C-337CE220F1E6}"/>
          </ac:cxnSpMkLst>
        </pc:cxnChg>
      </pc:sldChg>
      <pc:sldChg chg="del">
        <pc:chgData name="Tường SKHĐT" userId="ab9568c39a88b08a" providerId="LiveId" clId="{209500A2-46D0-4A60-8122-7A5CF9743D09}" dt="2023-05-26T08:01:14.529" v="228" actId="2696"/>
        <pc:sldMkLst>
          <pc:docMk/>
          <pc:sldMk cId="2943774504" sldId="2147473722"/>
        </pc:sldMkLst>
      </pc:sldChg>
      <pc:sldChg chg="del">
        <pc:chgData name="Tường SKHĐT" userId="ab9568c39a88b08a" providerId="LiveId" clId="{209500A2-46D0-4A60-8122-7A5CF9743D09}" dt="2023-05-26T04:18:11.642" v="0" actId="2696"/>
        <pc:sldMkLst>
          <pc:docMk/>
          <pc:sldMk cId="3781609734" sldId="2147473730"/>
        </pc:sldMkLst>
      </pc:sldChg>
      <pc:sldChg chg="addSp delSp modSp add mod">
        <pc:chgData name="Tường SKHĐT" userId="ab9568c39a88b08a" providerId="LiveId" clId="{209500A2-46D0-4A60-8122-7A5CF9743D09}" dt="2023-05-26T08:19:23.186" v="678" actId="20577"/>
        <pc:sldMkLst>
          <pc:docMk/>
          <pc:sldMk cId="2964888231" sldId="2147473732"/>
        </pc:sldMkLst>
        <pc:spChg chg="add mod">
          <ac:chgData name="Tường SKHĐT" userId="ab9568c39a88b08a" providerId="LiveId" clId="{209500A2-46D0-4A60-8122-7A5CF9743D09}" dt="2023-05-26T08:19:23.186" v="678" actId="20577"/>
          <ac:spMkLst>
            <pc:docMk/>
            <pc:sldMk cId="2964888231" sldId="2147473732"/>
            <ac:spMk id="3" creationId="{903B4ABF-B441-1F98-8475-ADC2F5108218}"/>
          </ac:spMkLst>
        </pc:spChg>
        <pc:spChg chg="del">
          <ac:chgData name="Tường SKHĐT" userId="ab9568c39a88b08a" providerId="LiveId" clId="{209500A2-46D0-4A60-8122-7A5CF9743D09}" dt="2023-05-26T08:01:30.751" v="230" actId="21"/>
          <ac:spMkLst>
            <pc:docMk/>
            <pc:sldMk cId="2964888231" sldId="2147473732"/>
            <ac:spMk id="5" creationId="{5B050C0E-6F0A-3A34-5DE6-722AD68E3AD2}"/>
          </ac:spMkLst>
        </pc:spChg>
        <pc:spChg chg="add mod">
          <ac:chgData name="Tường SKHĐT" userId="ab9568c39a88b08a" providerId="LiveId" clId="{209500A2-46D0-4A60-8122-7A5CF9743D09}" dt="2023-05-26T08:01:47.011" v="233"/>
          <ac:spMkLst>
            <pc:docMk/>
            <pc:sldMk cId="2964888231" sldId="2147473732"/>
            <ac:spMk id="7" creationId="{7D50AE92-1081-C242-AA0F-3479AC5AE1B9}"/>
          </ac:spMkLst>
        </pc:spChg>
        <pc:spChg chg="mod">
          <ac:chgData name="Tường SKHĐT" userId="ab9568c39a88b08a" providerId="LiveId" clId="{209500A2-46D0-4A60-8122-7A5CF9743D09}" dt="2023-05-26T08:02:38.029" v="258" actId="20577"/>
          <ac:spMkLst>
            <pc:docMk/>
            <pc:sldMk cId="2964888231" sldId="2147473732"/>
            <ac:spMk id="17" creationId="{819C62AF-660F-4A4C-8D60-DED895CA4F86}"/>
          </ac:spMkLst>
        </pc:spChg>
        <pc:spChg chg="mod">
          <ac:chgData name="Tường SKHĐT" userId="ab9568c39a88b08a" providerId="LiveId" clId="{209500A2-46D0-4A60-8122-7A5CF9743D09}" dt="2023-05-26T08:02:33.381" v="254" actId="20577"/>
          <ac:spMkLst>
            <pc:docMk/>
            <pc:sldMk cId="2964888231" sldId="2147473732"/>
            <ac:spMk id="38" creationId="{E99E09BE-73DB-3EA0-743A-B6780F7EC077}"/>
          </ac:spMkLst>
        </pc:spChg>
        <pc:spChg chg="mod">
          <ac:chgData name="Tường SKHĐT" userId="ab9568c39a88b08a" providerId="LiveId" clId="{209500A2-46D0-4A60-8122-7A5CF9743D09}" dt="2023-05-26T08:02:18.819" v="242" actId="20577"/>
          <ac:spMkLst>
            <pc:docMk/>
            <pc:sldMk cId="2964888231" sldId="2147473732"/>
            <ac:spMk id="39" creationId="{7264A84C-57F7-F74D-C532-6F7E2AD94E1E}"/>
          </ac:spMkLst>
        </pc:spChg>
        <pc:spChg chg="mod">
          <ac:chgData name="Tường SKHĐT" userId="ab9568c39a88b08a" providerId="LiveId" clId="{209500A2-46D0-4A60-8122-7A5CF9743D09}" dt="2023-05-26T08:02:24.348" v="248" actId="20577"/>
          <ac:spMkLst>
            <pc:docMk/>
            <pc:sldMk cId="2964888231" sldId="2147473732"/>
            <ac:spMk id="43" creationId="{30203544-5CA4-077B-B78C-B19B96F8FC77}"/>
          </ac:spMkLst>
        </pc:spChg>
      </pc:sldChg>
      <pc:sldChg chg="addSp delSp modSp add mod">
        <pc:chgData name="Tường SKHĐT" userId="ab9568c39a88b08a" providerId="LiveId" clId="{209500A2-46D0-4A60-8122-7A5CF9743D09}" dt="2023-05-26T08:19:53.859" v="689" actId="20577"/>
        <pc:sldMkLst>
          <pc:docMk/>
          <pc:sldMk cId="2569991023" sldId="2147473733"/>
        </pc:sldMkLst>
        <pc:spChg chg="del">
          <ac:chgData name="Tường SKHĐT" userId="ab9568c39a88b08a" providerId="LiveId" clId="{209500A2-46D0-4A60-8122-7A5CF9743D09}" dt="2023-05-26T04:28:23.036" v="91" actId="478"/>
          <ac:spMkLst>
            <pc:docMk/>
            <pc:sldMk cId="2569991023" sldId="2147473733"/>
            <ac:spMk id="4" creationId="{16D24723-A233-03FF-2329-1817AB93339D}"/>
          </ac:spMkLst>
        </pc:spChg>
        <pc:spChg chg="add mod">
          <ac:chgData name="Tường SKHĐT" userId="ab9568c39a88b08a" providerId="LiveId" clId="{209500A2-46D0-4A60-8122-7A5CF9743D09}" dt="2023-05-26T08:18:18.904" v="661" actId="20577"/>
          <ac:spMkLst>
            <pc:docMk/>
            <pc:sldMk cId="2569991023" sldId="2147473733"/>
            <ac:spMk id="5" creationId="{5B918BFC-9B4D-E46D-BFC5-3ED16C1643F8}"/>
          </ac:spMkLst>
        </pc:spChg>
        <pc:spChg chg="add mod">
          <ac:chgData name="Tường SKHĐT" userId="ab9568c39a88b08a" providerId="LiveId" clId="{209500A2-46D0-4A60-8122-7A5CF9743D09}" dt="2023-05-26T08:19:53.859" v="689" actId="20577"/>
          <ac:spMkLst>
            <pc:docMk/>
            <pc:sldMk cId="2569991023" sldId="2147473733"/>
            <ac:spMk id="7" creationId="{6CE3C172-6B73-81D2-B734-810C1C811D2E}"/>
          </ac:spMkLst>
        </pc:spChg>
        <pc:spChg chg="del">
          <ac:chgData name="Tường SKHĐT" userId="ab9568c39a88b08a" providerId="LiveId" clId="{209500A2-46D0-4A60-8122-7A5CF9743D09}" dt="2023-05-26T04:28:23.036" v="91" actId="478"/>
          <ac:spMkLst>
            <pc:docMk/>
            <pc:sldMk cId="2569991023" sldId="2147473733"/>
            <ac:spMk id="25" creationId="{01DC26C3-E6F4-C27A-8624-3A65D81B6008}"/>
          </ac:spMkLst>
        </pc:spChg>
        <pc:graphicFrameChg chg="mod modGraphic">
          <ac:chgData name="Tường SKHĐT" userId="ab9568c39a88b08a" providerId="LiveId" clId="{209500A2-46D0-4A60-8122-7A5CF9743D09}" dt="2023-05-26T04:29:16.952" v="109" actId="20577"/>
          <ac:graphicFrameMkLst>
            <pc:docMk/>
            <pc:sldMk cId="2569991023" sldId="2147473733"/>
            <ac:graphicFrameMk id="8" creationId="{B5E5335D-2EED-82AF-3A59-FAE8BB94EAE1}"/>
          </ac:graphicFrameMkLst>
        </pc:graphicFrameChg>
        <pc:picChg chg="del">
          <ac:chgData name="Tường SKHĐT" userId="ab9568c39a88b08a" providerId="LiveId" clId="{209500A2-46D0-4A60-8122-7A5CF9743D09}" dt="2023-05-26T04:28:59.317" v="101" actId="21"/>
          <ac:picMkLst>
            <pc:docMk/>
            <pc:sldMk cId="2569991023" sldId="2147473733"/>
            <ac:picMk id="3" creationId="{65E2C9CA-C74B-BF6D-7601-969BE1A28E59}"/>
          </ac:picMkLst>
        </pc:picChg>
        <pc:picChg chg="add mod">
          <ac:chgData name="Tường SKHĐT" userId="ab9568c39a88b08a" providerId="LiveId" clId="{209500A2-46D0-4A60-8122-7A5CF9743D09}" dt="2023-05-26T04:29:02.656" v="102"/>
          <ac:picMkLst>
            <pc:docMk/>
            <pc:sldMk cId="2569991023" sldId="2147473733"/>
            <ac:picMk id="9" creationId="{CDC37B83-E538-7BDA-9A1E-E09DCFF78A2D}"/>
          </ac:picMkLst>
        </pc:picChg>
        <pc:cxnChg chg="del">
          <ac:chgData name="Tường SKHĐT" userId="ab9568c39a88b08a" providerId="LiveId" clId="{209500A2-46D0-4A60-8122-7A5CF9743D09}" dt="2023-05-26T04:28:23.036" v="91" actId="478"/>
          <ac:cxnSpMkLst>
            <pc:docMk/>
            <pc:sldMk cId="2569991023" sldId="2147473733"/>
            <ac:cxnSpMk id="6" creationId="{FF705920-E1B4-B4D0-9EA4-A27AA5761577}"/>
          </ac:cxnSpMkLst>
        </pc:cxnChg>
      </pc:sldChg>
      <pc:sldChg chg="delSp modSp add mod">
        <pc:chgData name="Tường SKHĐT" userId="ab9568c39a88b08a" providerId="LiveId" clId="{209500A2-46D0-4A60-8122-7A5CF9743D09}" dt="2023-05-26T08:20:32.707" v="709" actId="20577"/>
        <pc:sldMkLst>
          <pc:docMk/>
          <pc:sldMk cId="1379701318" sldId="2147473734"/>
        </pc:sldMkLst>
        <pc:spChg chg="del">
          <ac:chgData name="Tường SKHĐT" userId="ab9568c39a88b08a" providerId="LiveId" clId="{209500A2-46D0-4A60-8122-7A5CF9743D09}" dt="2023-05-26T08:07:44.616" v="403" actId="21"/>
          <ac:spMkLst>
            <pc:docMk/>
            <pc:sldMk cId="1379701318" sldId="2147473734"/>
            <ac:spMk id="4" creationId="{16D24723-A233-03FF-2329-1817AB93339D}"/>
          </ac:spMkLst>
        </pc:spChg>
        <pc:spChg chg="mod">
          <ac:chgData name="Tường SKHĐT" userId="ab9568c39a88b08a" providerId="LiveId" clId="{209500A2-46D0-4A60-8122-7A5CF9743D09}" dt="2023-05-26T08:20:32.707" v="709" actId="20577"/>
          <ac:spMkLst>
            <pc:docMk/>
            <pc:sldMk cId="1379701318" sldId="2147473734"/>
            <ac:spMk id="25" creationId="{01DC26C3-E6F4-C27A-8624-3A65D81B6008}"/>
          </ac:spMkLst>
        </pc:spChg>
        <pc:graphicFrameChg chg="mod">
          <ac:chgData name="Tường SKHĐT" userId="ab9568c39a88b08a" providerId="LiveId" clId="{209500A2-46D0-4A60-8122-7A5CF9743D09}" dt="2023-05-26T08:08:25.825" v="413" actId="1076"/>
          <ac:graphicFrameMkLst>
            <pc:docMk/>
            <pc:sldMk cId="1379701318" sldId="2147473734"/>
            <ac:graphicFrameMk id="9" creationId="{0FC7DBA8-03B5-1D5D-B7A1-68AA6F62DF7E}"/>
          </ac:graphicFrameMkLst>
        </pc:graphicFrameChg>
        <pc:cxnChg chg="del">
          <ac:chgData name="Tường SKHĐT" userId="ab9568c39a88b08a" providerId="LiveId" clId="{209500A2-46D0-4A60-8122-7A5CF9743D09}" dt="2023-05-26T08:07:44.616" v="403" actId="21"/>
          <ac:cxnSpMkLst>
            <pc:docMk/>
            <pc:sldMk cId="1379701318" sldId="2147473734"/>
            <ac:cxnSpMk id="6" creationId="{FF705920-E1B4-B4D0-9EA4-A27AA5761577}"/>
          </ac:cxnSpMkLst>
        </pc:cxnChg>
      </pc:sldChg>
      <pc:sldChg chg="addSp delSp modSp add mod">
        <pc:chgData name="Tường SKHĐT" userId="ab9568c39a88b08a" providerId="LiveId" clId="{209500A2-46D0-4A60-8122-7A5CF9743D09}" dt="2023-05-26T07:54:47.163" v="127" actId="1076"/>
        <pc:sldMkLst>
          <pc:docMk/>
          <pc:sldMk cId="3474861270" sldId="2147473735"/>
        </pc:sldMkLst>
        <pc:spChg chg="del">
          <ac:chgData name="Tường SKHĐT" userId="ab9568c39a88b08a" providerId="LiveId" clId="{209500A2-46D0-4A60-8122-7A5CF9743D09}" dt="2023-05-26T07:54:31.212" v="121" actId="478"/>
          <ac:spMkLst>
            <pc:docMk/>
            <pc:sldMk cId="3474861270" sldId="2147473735"/>
            <ac:spMk id="4" creationId="{1FA84E38-1AE4-2FD2-269D-531A1D51424D}"/>
          </ac:spMkLst>
        </pc:spChg>
        <pc:spChg chg="del">
          <ac:chgData name="Tường SKHĐT" userId="ab9568c39a88b08a" providerId="LiveId" clId="{209500A2-46D0-4A60-8122-7A5CF9743D09}" dt="2023-05-26T07:54:31.212" v="121" actId="478"/>
          <ac:spMkLst>
            <pc:docMk/>
            <pc:sldMk cId="3474861270" sldId="2147473735"/>
            <ac:spMk id="6" creationId="{AD8FCB44-5401-4810-551D-B0072A6956BA}"/>
          </ac:spMkLst>
        </pc:spChg>
        <pc:spChg chg="del">
          <ac:chgData name="Tường SKHĐT" userId="ab9568c39a88b08a" providerId="LiveId" clId="{209500A2-46D0-4A60-8122-7A5CF9743D09}" dt="2023-05-26T07:54:31.212" v="121" actId="478"/>
          <ac:spMkLst>
            <pc:docMk/>
            <pc:sldMk cId="3474861270" sldId="2147473735"/>
            <ac:spMk id="8" creationId="{E4620DA0-DCF6-700E-9776-6805AE4114E9}"/>
          </ac:spMkLst>
        </pc:spChg>
        <pc:spChg chg="mod">
          <ac:chgData name="Tường SKHĐT" userId="ab9568c39a88b08a" providerId="LiveId" clId="{209500A2-46D0-4A60-8122-7A5CF9743D09}" dt="2023-05-26T07:54:34.848" v="122" actId="1076"/>
          <ac:spMkLst>
            <pc:docMk/>
            <pc:sldMk cId="3474861270" sldId="2147473735"/>
            <ac:spMk id="9" creationId="{CE322719-97A4-00CC-C0B6-CACE800FAA68}"/>
          </ac:spMkLst>
        </pc:spChg>
        <pc:graphicFrameChg chg="del">
          <ac:chgData name="Tường SKHĐT" userId="ab9568c39a88b08a" providerId="LiveId" clId="{209500A2-46D0-4A60-8122-7A5CF9743D09}" dt="2023-05-26T07:54:28.158" v="120" actId="21"/>
          <ac:graphicFrameMkLst>
            <pc:docMk/>
            <pc:sldMk cId="3474861270" sldId="2147473735"/>
            <ac:graphicFrameMk id="3" creationId="{19F8C869-87A6-0F98-C7BC-7F547BC514A6}"/>
          </ac:graphicFrameMkLst>
        </pc:graphicFrameChg>
        <pc:picChg chg="add mod">
          <ac:chgData name="Tường SKHĐT" userId="ab9568c39a88b08a" providerId="LiveId" clId="{209500A2-46D0-4A60-8122-7A5CF9743D09}" dt="2023-05-26T07:54:47.163" v="127" actId="1076"/>
          <ac:picMkLst>
            <pc:docMk/>
            <pc:sldMk cId="3474861270" sldId="2147473735"/>
            <ac:picMk id="5" creationId="{956FAA40-D79B-C819-F976-4FAE47924C8C}"/>
          </ac:picMkLst>
        </pc:picChg>
      </pc:sldChg>
      <pc:sldChg chg="addSp delSp modSp add mod">
        <pc:chgData name="Tường SKHĐT" userId="ab9568c39a88b08a" providerId="LiveId" clId="{209500A2-46D0-4A60-8122-7A5CF9743D09}" dt="2023-05-26T07:57:09.580" v="137" actId="1076"/>
        <pc:sldMkLst>
          <pc:docMk/>
          <pc:sldMk cId="1775073472" sldId="2147473736"/>
        </pc:sldMkLst>
        <pc:spChg chg="mod">
          <ac:chgData name="Tường SKHĐT" userId="ab9568c39a88b08a" providerId="LiveId" clId="{209500A2-46D0-4A60-8122-7A5CF9743D09}" dt="2023-05-26T07:57:09.580" v="137" actId="1076"/>
          <ac:spMkLst>
            <pc:docMk/>
            <pc:sldMk cId="1775073472" sldId="2147473736"/>
            <ac:spMk id="9" creationId="{18AC359A-8ADF-9DAA-4CA1-F82A916F1E2E}"/>
          </ac:spMkLst>
        </pc:spChg>
        <pc:spChg chg="del">
          <ac:chgData name="Tường SKHĐT" userId="ab9568c39a88b08a" providerId="LiveId" clId="{209500A2-46D0-4A60-8122-7A5CF9743D09}" dt="2023-05-26T07:56:47.285" v="129" actId="478"/>
          <ac:spMkLst>
            <pc:docMk/>
            <pc:sldMk cId="1775073472" sldId="2147473736"/>
            <ac:spMk id="33" creationId="{0959055D-1A0E-234C-9864-D6D0F9E441B4}"/>
          </ac:spMkLst>
        </pc:spChg>
        <pc:spChg chg="del">
          <ac:chgData name="Tường SKHĐT" userId="ab9568c39a88b08a" providerId="LiveId" clId="{209500A2-46D0-4A60-8122-7A5CF9743D09}" dt="2023-05-26T07:56:49.330" v="130" actId="478"/>
          <ac:spMkLst>
            <pc:docMk/>
            <pc:sldMk cId="1775073472" sldId="2147473736"/>
            <ac:spMk id="51" creationId="{E639D5A5-0B2B-2B25-C42F-CD3F6B8CE468}"/>
          </ac:spMkLst>
        </pc:spChg>
        <pc:grpChg chg="del">
          <ac:chgData name="Tường SKHĐT" userId="ab9568c39a88b08a" providerId="LiveId" clId="{209500A2-46D0-4A60-8122-7A5CF9743D09}" dt="2023-05-26T07:56:49.330" v="130" actId="478"/>
          <ac:grpSpMkLst>
            <pc:docMk/>
            <pc:sldMk cId="1775073472" sldId="2147473736"/>
            <ac:grpSpMk id="34" creationId="{E9FF81F2-B8F1-6141-480B-3136065353D9}"/>
          </ac:grpSpMkLst>
        </pc:grpChg>
        <pc:grpChg chg="del">
          <ac:chgData name="Tường SKHĐT" userId="ab9568c39a88b08a" providerId="LiveId" clId="{209500A2-46D0-4A60-8122-7A5CF9743D09}" dt="2023-05-26T07:56:49.330" v="130" actId="478"/>
          <ac:grpSpMkLst>
            <pc:docMk/>
            <pc:sldMk cId="1775073472" sldId="2147473736"/>
            <ac:grpSpMk id="38" creationId="{11D29D9B-8730-3997-C9A4-11315D5FC881}"/>
          </ac:grpSpMkLst>
        </pc:grpChg>
        <pc:grpChg chg="del">
          <ac:chgData name="Tường SKHĐT" userId="ab9568c39a88b08a" providerId="LiveId" clId="{209500A2-46D0-4A60-8122-7A5CF9743D09}" dt="2023-05-26T07:56:49.330" v="130" actId="478"/>
          <ac:grpSpMkLst>
            <pc:docMk/>
            <pc:sldMk cId="1775073472" sldId="2147473736"/>
            <ac:grpSpMk id="41" creationId="{F8F0BB93-27B2-163B-81FF-6B6608C40518}"/>
          </ac:grpSpMkLst>
        </pc:grpChg>
        <pc:grpChg chg="del">
          <ac:chgData name="Tường SKHĐT" userId="ab9568c39a88b08a" providerId="LiveId" clId="{209500A2-46D0-4A60-8122-7A5CF9743D09}" dt="2023-05-26T07:56:49.330" v="130" actId="478"/>
          <ac:grpSpMkLst>
            <pc:docMk/>
            <pc:sldMk cId="1775073472" sldId="2147473736"/>
            <ac:grpSpMk id="46" creationId="{937E3CB8-3528-4025-9B27-90C52F1E8DB0}"/>
          </ac:grpSpMkLst>
        </pc:grpChg>
        <pc:graphicFrameChg chg="del">
          <ac:chgData name="Tường SKHĐT" userId="ab9568c39a88b08a" providerId="LiveId" clId="{209500A2-46D0-4A60-8122-7A5CF9743D09}" dt="2023-05-26T07:56:47.285" v="129" actId="478"/>
          <ac:graphicFrameMkLst>
            <pc:docMk/>
            <pc:sldMk cId="1775073472" sldId="2147473736"/>
            <ac:graphicFrameMk id="8" creationId="{B5E5335D-2EED-82AF-3A59-FAE8BB94EAE1}"/>
          </ac:graphicFrameMkLst>
        </pc:graphicFrameChg>
        <pc:picChg chg="add mod">
          <ac:chgData name="Tường SKHĐT" userId="ab9568c39a88b08a" providerId="LiveId" clId="{209500A2-46D0-4A60-8122-7A5CF9743D09}" dt="2023-05-26T07:57:07.704" v="136" actId="1076"/>
          <ac:picMkLst>
            <pc:docMk/>
            <pc:sldMk cId="1775073472" sldId="2147473736"/>
            <ac:picMk id="3" creationId="{5AC2D7C3-E090-4C77-D4E6-88325902E8B7}"/>
          </ac:picMkLst>
        </pc:picChg>
        <pc:picChg chg="del">
          <ac:chgData name="Tường SKHĐT" userId="ab9568c39a88b08a" providerId="LiveId" clId="{209500A2-46D0-4A60-8122-7A5CF9743D09}" dt="2023-05-26T07:56:49.330" v="130" actId="478"/>
          <ac:picMkLst>
            <pc:docMk/>
            <pc:sldMk cId="1775073472" sldId="2147473736"/>
            <ac:picMk id="30" creationId="{08AE9AC3-FD57-47BC-AF03-5B008563EF4B}"/>
          </ac:picMkLst>
        </pc:picChg>
        <pc:picChg chg="del">
          <ac:chgData name="Tường SKHĐT" userId="ab9568c39a88b08a" providerId="LiveId" clId="{209500A2-46D0-4A60-8122-7A5CF9743D09}" dt="2023-05-26T07:56:49.330" v="130" actId="478"/>
          <ac:picMkLst>
            <pc:docMk/>
            <pc:sldMk cId="1775073472" sldId="2147473736"/>
            <ac:picMk id="31" creationId="{71CE52F5-FFC8-14D4-FBA2-3FC98A85CCC2}"/>
          </ac:picMkLst>
        </pc:picChg>
        <pc:picChg chg="del">
          <ac:chgData name="Tường SKHĐT" userId="ab9568c39a88b08a" providerId="LiveId" clId="{209500A2-46D0-4A60-8122-7A5CF9743D09}" dt="2023-05-26T07:56:47.285" v="129" actId="478"/>
          <ac:picMkLst>
            <pc:docMk/>
            <pc:sldMk cId="1775073472" sldId="2147473736"/>
            <ac:picMk id="32" creationId="{D60AE9D0-2656-F431-EBC5-CFC3173546E1}"/>
          </ac:picMkLst>
        </pc:picChg>
        <pc:picChg chg="del">
          <ac:chgData name="Tường SKHĐT" userId="ab9568c39a88b08a" providerId="LiveId" clId="{209500A2-46D0-4A60-8122-7A5CF9743D09}" dt="2023-05-26T07:56:49.330" v="130" actId="478"/>
          <ac:picMkLst>
            <pc:docMk/>
            <pc:sldMk cId="1775073472" sldId="2147473736"/>
            <ac:picMk id="45" creationId="{877003C6-7270-3A27-2661-B33D0BFBFE18}"/>
          </ac:picMkLst>
        </pc:picChg>
        <pc:picChg chg="del">
          <ac:chgData name="Tường SKHĐT" userId="ab9568c39a88b08a" providerId="LiveId" clId="{209500A2-46D0-4A60-8122-7A5CF9743D09}" dt="2023-05-26T07:56:49.330" v="130" actId="478"/>
          <ac:picMkLst>
            <pc:docMk/>
            <pc:sldMk cId="1775073472" sldId="2147473736"/>
            <ac:picMk id="50" creationId="{CC057292-7944-31CA-AED4-B1127A7792E6}"/>
          </ac:picMkLst>
        </pc:picChg>
      </pc:sldChg>
      <pc:sldChg chg="addSp delSp modSp add mod">
        <pc:chgData name="Tường SKHĐT" userId="ab9568c39a88b08a" providerId="LiveId" clId="{209500A2-46D0-4A60-8122-7A5CF9743D09}" dt="2023-05-26T08:17:07.066" v="656" actId="14100"/>
        <pc:sldMkLst>
          <pc:docMk/>
          <pc:sldMk cId="3744426745" sldId="2147473737"/>
        </pc:sldMkLst>
        <pc:spChg chg="del">
          <ac:chgData name="Tường SKHĐT" userId="ab9568c39a88b08a" providerId="LiveId" clId="{209500A2-46D0-4A60-8122-7A5CF9743D09}" dt="2023-05-26T08:16:50.174" v="647" actId="478"/>
          <ac:spMkLst>
            <pc:docMk/>
            <pc:sldMk cId="3744426745" sldId="2147473737"/>
            <ac:spMk id="4" creationId="{25A5886A-12D5-0579-CB89-3CAC00C7D8EF}"/>
          </ac:spMkLst>
        </pc:spChg>
        <pc:spChg chg="del">
          <ac:chgData name="Tường SKHĐT" userId="ab9568c39a88b08a" providerId="LiveId" clId="{209500A2-46D0-4A60-8122-7A5CF9743D09}" dt="2023-05-26T08:16:50.174" v="647" actId="478"/>
          <ac:spMkLst>
            <pc:docMk/>
            <pc:sldMk cId="3744426745" sldId="2147473737"/>
            <ac:spMk id="6" creationId="{304E3239-2492-E5C2-B476-E4B9E81FD8FE}"/>
          </ac:spMkLst>
        </pc:spChg>
        <pc:spChg chg="add mod">
          <ac:chgData name="Tường SKHĐT" userId="ab9568c39a88b08a" providerId="LiveId" clId="{209500A2-46D0-4A60-8122-7A5CF9743D09}" dt="2023-05-26T08:17:02.641" v="652" actId="1076"/>
          <ac:spMkLst>
            <pc:docMk/>
            <pc:sldMk cId="3744426745" sldId="2147473737"/>
            <ac:spMk id="9" creationId="{58F24AD0-F007-A590-583C-27B1A4CE0310}"/>
          </ac:spMkLst>
        </pc:spChg>
        <pc:graphicFrameChg chg="del mod modGraphic">
          <ac:chgData name="Tường SKHĐT" userId="ab9568c39a88b08a" providerId="LiveId" clId="{209500A2-46D0-4A60-8122-7A5CF9743D09}" dt="2023-05-26T08:16:55.037" v="649" actId="21"/>
          <ac:graphicFrameMkLst>
            <pc:docMk/>
            <pc:sldMk cId="3744426745" sldId="2147473737"/>
            <ac:graphicFrameMk id="8" creationId="{B5E5335D-2EED-82AF-3A59-FAE8BB94EAE1}"/>
          </ac:graphicFrameMkLst>
        </pc:graphicFrameChg>
        <pc:picChg chg="del">
          <ac:chgData name="Tường SKHĐT" userId="ab9568c39a88b08a" providerId="LiveId" clId="{209500A2-46D0-4A60-8122-7A5CF9743D09}" dt="2023-05-26T07:58:06.418" v="140" actId="21"/>
          <ac:picMkLst>
            <pc:docMk/>
            <pc:sldMk cId="3744426745" sldId="2147473737"/>
            <ac:picMk id="2" creationId="{D332573F-550E-B385-BE21-241ECFBBB573}"/>
          </ac:picMkLst>
        </pc:picChg>
        <pc:picChg chg="del">
          <ac:chgData name="Tường SKHĐT" userId="ab9568c39a88b08a" providerId="LiveId" clId="{209500A2-46D0-4A60-8122-7A5CF9743D09}" dt="2023-05-26T07:58:08.165" v="141" actId="21"/>
          <ac:picMkLst>
            <pc:docMk/>
            <pc:sldMk cId="3744426745" sldId="2147473737"/>
            <ac:picMk id="5" creationId="{3CDF5BD5-9FC9-82BF-1AB2-3E88F876FDF7}"/>
          </ac:picMkLst>
        </pc:picChg>
        <pc:picChg chg="add mod">
          <ac:chgData name="Tường SKHĐT" userId="ab9568c39a88b08a" providerId="LiveId" clId="{209500A2-46D0-4A60-8122-7A5CF9743D09}" dt="2023-05-26T08:17:07.066" v="656" actId="14100"/>
          <ac:picMkLst>
            <pc:docMk/>
            <pc:sldMk cId="3744426745" sldId="2147473737"/>
            <ac:picMk id="7" creationId="{88723A39-7226-0710-ECED-2DFB60814456}"/>
          </ac:picMkLst>
        </pc:picChg>
      </pc:sldChg>
      <pc:sldChg chg="addSp delSp modSp add mod">
        <pc:chgData name="Tường SKHĐT" userId="ab9568c39a88b08a" providerId="LiveId" clId="{209500A2-46D0-4A60-8122-7A5CF9743D09}" dt="2023-05-26T08:20:16.430" v="703" actId="20577"/>
        <pc:sldMkLst>
          <pc:docMk/>
          <pc:sldMk cId="3839081106" sldId="2147473738"/>
        </pc:sldMkLst>
        <pc:spChg chg="del">
          <ac:chgData name="Tường SKHĐT" userId="ab9568c39a88b08a" providerId="LiveId" clId="{209500A2-46D0-4A60-8122-7A5CF9743D09}" dt="2023-05-26T08:10:37.606" v="456" actId="21"/>
          <ac:spMkLst>
            <pc:docMk/>
            <pc:sldMk cId="3839081106" sldId="2147473738"/>
            <ac:spMk id="2" creationId="{F9FD27AF-4E01-77E9-3CC9-56F324CD8F16}"/>
          </ac:spMkLst>
        </pc:spChg>
        <pc:spChg chg="del">
          <ac:chgData name="Tường SKHĐT" userId="ab9568c39a88b08a" providerId="LiveId" clId="{209500A2-46D0-4A60-8122-7A5CF9743D09}" dt="2023-05-26T08:10:43.706" v="457" actId="21"/>
          <ac:spMkLst>
            <pc:docMk/>
            <pc:sldMk cId="3839081106" sldId="2147473738"/>
            <ac:spMk id="4" creationId="{84E678B1-5987-B741-9399-D29A2D84E308}"/>
          </ac:spMkLst>
        </pc:spChg>
        <pc:spChg chg="add mod">
          <ac:chgData name="Tường SKHĐT" userId="ab9568c39a88b08a" providerId="LiveId" clId="{209500A2-46D0-4A60-8122-7A5CF9743D09}" dt="2023-05-26T08:10:47.556" v="458"/>
          <ac:spMkLst>
            <pc:docMk/>
            <pc:sldMk cId="3839081106" sldId="2147473738"/>
            <ac:spMk id="5" creationId="{D719EECE-B4EB-2250-6716-BE9AEEDC7A27}"/>
          </ac:spMkLst>
        </pc:spChg>
        <pc:spChg chg="add mod">
          <ac:chgData name="Tường SKHĐT" userId="ab9568c39a88b08a" providerId="LiveId" clId="{209500A2-46D0-4A60-8122-7A5CF9743D09}" dt="2023-05-26T08:20:16.430" v="703" actId="20577"/>
          <ac:spMkLst>
            <pc:docMk/>
            <pc:sldMk cId="3839081106" sldId="2147473738"/>
            <ac:spMk id="8" creationId="{6325300B-72B5-EA7E-3841-C049947F901A}"/>
          </ac:spMkLst>
        </pc:spChg>
        <pc:cxnChg chg="del">
          <ac:chgData name="Tường SKHĐT" userId="ab9568c39a88b08a" providerId="LiveId" clId="{209500A2-46D0-4A60-8122-7A5CF9743D09}" dt="2023-05-26T08:10:37.606" v="456" actId="21"/>
          <ac:cxnSpMkLst>
            <pc:docMk/>
            <pc:sldMk cId="3839081106" sldId="2147473738"/>
            <ac:cxnSpMk id="3" creationId="{ADD22AB5-997A-438C-90CE-9E3E978696C3}"/>
          </ac:cxnSpMkLst>
        </pc:cxnChg>
      </pc:sldChg>
      <pc:sldChg chg="modSp add mod">
        <pc:chgData name="Tường SKHĐT" userId="ab9568c39a88b08a" providerId="LiveId" clId="{209500A2-46D0-4A60-8122-7A5CF9743D09}" dt="2023-05-26T08:40:01.448" v="956" actId="20577"/>
        <pc:sldMkLst>
          <pc:docMk/>
          <pc:sldMk cId="2648267713" sldId="2147473739"/>
        </pc:sldMkLst>
        <pc:spChg chg="mod">
          <ac:chgData name="Tường SKHĐT" userId="ab9568c39a88b08a" providerId="LiveId" clId="{209500A2-46D0-4A60-8122-7A5CF9743D09}" dt="2023-05-26T08:40:01.448" v="956" actId="20577"/>
          <ac:spMkLst>
            <pc:docMk/>
            <pc:sldMk cId="2648267713" sldId="2147473739"/>
            <ac:spMk id="27" creationId="{01DC26C3-E6F4-C27A-8624-3A65D81B6008}"/>
          </ac:spMkLst>
        </pc:spChg>
      </pc:sldChg>
      <pc:sldMasterChg chg="delSldLayout">
        <pc:chgData name="Tường SKHĐT" userId="ab9568c39a88b08a" providerId="LiveId" clId="{209500A2-46D0-4A60-8122-7A5CF9743D09}" dt="2023-05-26T08:42:06.898" v="1018" actId="2696"/>
        <pc:sldMasterMkLst>
          <pc:docMk/>
          <pc:sldMasterMk cId="2184812212" sldId="2147483912"/>
        </pc:sldMasterMkLst>
        <pc:sldLayoutChg chg="del">
          <pc:chgData name="Tường SKHĐT" userId="ab9568c39a88b08a" providerId="LiveId" clId="{209500A2-46D0-4A60-8122-7A5CF9743D09}" dt="2023-05-26T08:42:06.898" v="1018" actId="2696"/>
          <pc:sldLayoutMkLst>
            <pc:docMk/>
            <pc:sldMasterMk cId="2184812212" sldId="2147483912"/>
            <pc:sldLayoutMk cId="3531722404" sldId="2147483936"/>
          </pc:sldLayoutMkLst>
        </pc:sldLayoutChg>
      </pc:sldMasterChg>
    </pc:docChg>
  </pc:docChgLst>
  <pc:docChgLst>
    <pc:chgData name="Tường SKHĐT" userId="ab9568c39a88b08a" providerId="LiveId" clId="{6633AFB9-5A1F-4E00-B171-13D11DB7E501}"/>
    <pc:docChg chg="undo custSel addSld delSld modSld">
      <pc:chgData name="Tường SKHĐT" userId="ab9568c39a88b08a" providerId="LiveId" clId="{6633AFB9-5A1F-4E00-B171-13D11DB7E501}" dt="2023-05-31T09:45:57.344" v="620" actId="14100"/>
      <pc:docMkLst>
        <pc:docMk/>
      </pc:docMkLst>
      <pc:sldChg chg="del">
        <pc:chgData name="Tường SKHĐT" userId="ab9568c39a88b08a" providerId="LiveId" clId="{6633AFB9-5A1F-4E00-B171-13D11DB7E501}" dt="2023-05-31T02:42:31.362" v="56" actId="2696"/>
        <pc:sldMkLst>
          <pc:docMk/>
          <pc:sldMk cId="3122668904" sldId="2147473596"/>
        </pc:sldMkLst>
      </pc:sldChg>
      <pc:sldChg chg="modSp add mod">
        <pc:chgData name="Tường SKHĐT" userId="ab9568c39a88b08a" providerId="LiveId" clId="{6633AFB9-5A1F-4E00-B171-13D11DB7E501}" dt="2023-05-31T03:40:21.277" v="416"/>
        <pc:sldMkLst>
          <pc:docMk/>
          <pc:sldMk cId="1686249856" sldId="2147473647"/>
        </pc:sldMkLst>
        <pc:spChg chg="mod">
          <ac:chgData name="Tường SKHĐT" userId="ab9568c39a88b08a" providerId="LiveId" clId="{6633AFB9-5A1F-4E00-B171-13D11DB7E501}" dt="2023-05-31T02:54:12.022" v="268" actId="207"/>
          <ac:spMkLst>
            <pc:docMk/>
            <pc:sldMk cId="1686249856" sldId="2147473647"/>
            <ac:spMk id="2" creationId="{FEDE0ACA-73AF-9712-028B-145C8057A697}"/>
          </ac:spMkLst>
        </pc:spChg>
        <pc:spChg chg="mod">
          <ac:chgData name="Tường SKHĐT" userId="ab9568c39a88b08a" providerId="LiveId" clId="{6633AFB9-5A1F-4E00-B171-13D11DB7E501}" dt="2023-05-31T02:43:41.085" v="140" actId="20577"/>
          <ac:spMkLst>
            <pc:docMk/>
            <pc:sldMk cId="1686249856" sldId="2147473647"/>
            <ac:spMk id="4" creationId="{5DDFB1B9-9FA7-5CF0-AB22-DCB06431AEA4}"/>
          </ac:spMkLst>
        </pc:spChg>
        <pc:spChg chg="mod">
          <ac:chgData name="Tường SKHĐT" userId="ab9568c39a88b08a" providerId="LiveId" clId="{6633AFB9-5A1F-4E00-B171-13D11DB7E501}" dt="2023-05-31T02:54:20.348" v="270" actId="207"/>
          <ac:spMkLst>
            <pc:docMk/>
            <pc:sldMk cId="1686249856" sldId="2147473647"/>
            <ac:spMk id="5" creationId="{E8A78399-F64E-FDA1-AB56-855ACF72F180}"/>
          </ac:spMkLst>
        </pc:spChg>
        <pc:spChg chg="mod">
          <ac:chgData name="Tường SKHĐT" userId="ab9568c39a88b08a" providerId="LiveId" clId="{6633AFB9-5A1F-4E00-B171-13D11DB7E501}" dt="2023-05-31T03:39:54.719" v="413" actId="1076"/>
          <ac:spMkLst>
            <pc:docMk/>
            <pc:sldMk cId="1686249856" sldId="2147473647"/>
            <ac:spMk id="6" creationId="{E4ED8AB2-A473-1A88-1EA5-ACE8071989F9}"/>
          </ac:spMkLst>
        </pc:spChg>
        <pc:spChg chg="mod">
          <ac:chgData name="Tường SKHĐT" userId="ab9568c39a88b08a" providerId="LiveId" clId="{6633AFB9-5A1F-4E00-B171-13D11DB7E501}" dt="2023-05-31T03:39:56.547" v="414" actId="1076"/>
          <ac:spMkLst>
            <pc:docMk/>
            <pc:sldMk cId="1686249856" sldId="2147473647"/>
            <ac:spMk id="7" creationId="{B575D5B7-89E0-566C-C97F-CD98CCE24441}"/>
          </ac:spMkLst>
        </pc:spChg>
        <pc:spChg chg="mod">
          <ac:chgData name="Tường SKHĐT" userId="ab9568c39a88b08a" providerId="LiveId" clId="{6633AFB9-5A1F-4E00-B171-13D11DB7E501}" dt="2023-05-31T02:44:03.165" v="192" actId="20577"/>
          <ac:spMkLst>
            <pc:docMk/>
            <pc:sldMk cId="1686249856" sldId="2147473647"/>
            <ac:spMk id="12" creationId="{8A67A444-F448-A9A5-7360-DFFFEB3A5F6E}"/>
          </ac:spMkLst>
        </pc:spChg>
        <pc:graphicFrameChg chg="mod">
          <ac:chgData name="Tường SKHĐT" userId="ab9568c39a88b08a" providerId="LiveId" clId="{6633AFB9-5A1F-4E00-B171-13D11DB7E501}" dt="2023-05-31T03:40:21.277" v="416"/>
          <ac:graphicFrameMkLst>
            <pc:docMk/>
            <pc:sldMk cId="1686249856" sldId="2147473647"/>
            <ac:graphicFrameMk id="9" creationId="{0738877F-56EF-4DEF-B5AA-1664DC8186CF}"/>
          </ac:graphicFrameMkLst>
        </pc:graphicFrameChg>
      </pc:sldChg>
      <pc:sldChg chg="add del">
        <pc:chgData name="Tường SKHĐT" userId="ab9568c39a88b08a" providerId="LiveId" clId="{6633AFB9-5A1F-4E00-B171-13D11DB7E501}" dt="2023-05-31T03:21:36.528" v="354" actId="2696"/>
        <pc:sldMkLst>
          <pc:docMk/>
          <pc:sldMk cId="812435647" sldId="2147473649"/>
        </pc:sldMkLst>
      </pc:sldChg>
      <pc:sldChg chg="add del mod">
        <pc:chgData name="Tường SKHĐT" userId="ab9568c39a88b08a" providerId="LiveId" clId="{6633AFB9-5A1F-4E00-B171-13D11DB7E501}" dt="2023-05-31T03:31:44.719" v="394" actId="2696"/>
        <pc:sldMkLst>
          <pc:docMk/>
          <pc:sldMk cId="2086378900" sldId="2147473652"/>
        </pc:sldMkLst>
      </pc:sldChg>
      <pc:sldChg chg="delSp modSp add mod">
        <pc:chgData name="Tường SKHĐT" userId="ab9568c39a88b08a" providerId="LiveId" clId="{6633AFB9-5A1F-4E00-B171-13D11DB7E501}" dt="2023-05-31T09:35:34.960" v="553" actId="20577"/>
        <pc:sldMkLst>
          <pc:docMk/>
          <pc:sldMk cId="3727718023" sldId="2147473658"/>
        </pc:sldMkLst>
        <pc:spChg chg="del">
          <ac:chgData name="Tường SKHĐT" userId="ab9568c39a88b08a" providerId="LiveId" clId="{6633AFB9-5A1F-4E00-B171-13D11DB7E501}" dt="2023-05-31T09:35:23.635" v="550" actId="21"/>
          <ac:spMkLst>
            <pc:docMk/>
            <pc:sldMk cId="3727718023" sldId="2147473658"/>
            <ac:spMk id="5" creationId="{13C6177D-64B9-5B4D-AA6B-571EB29BED77}"/>
          </ac:spMkLst>
        </pc:spChg>
        <pc:spChg chg="mod">
          <ac:chgData name="Tường SKHĐT" userId="ab9568c39a88b08a" providerId="LiveId" clId="{6633AFB9-5A1F-4E00-B171-13D11DB7E501}" dt="2023-05-31T09:35:28.174" v="551" actId="1076"/>
          <ac:spMkLst>
            <pc:docMk/>
            <pc:sldMk cId="3727718023" sldId="2147473658"/>
            <ac:spMk id="6" creationId="{AD8FCB44-5401-4810-551D-B0072A6956BA}"/>
          </ac:spMkLst>
        </pc:spChg>
        <pc:graphicFrameChg chg="mod modGraphic">
          <ac:chgData name="Tường SKHĐT" userId="ab9568c39a88b08a" providerId="LiveId" clId="{6633AFB9-5A1F-4E00-B171-13D11DB7E501}" dt="2023-05-31T09:35:34.960" v="553" actId="20577"/>
          <ac:graphicFrameMkLst>
            <pc:docMk/>
            <pc:sldMk cId="3727718023" sldId="2147473658"/>
            <ac:graphicFrameMk id="2" creationId="{3E45EC01-8919-CDD1-BF49-FD790779B8D8}"/>
          </ac:graphicFrameMkLst>
        </pc:graphicFrameChg>
      </pc:sldChg>
      <pc:sldChg chg="modSp add mod">
        <pc:chgData name="Tường SKHĐT" userId="ab9568c39a88b08a" providerId="LiveId" clId="{6633AFB9-5A1F-4E00-B171-13D11DB7E501}" dt="2023-05-31T08:30:54.027" v="514" actId="20577"/>
        <pc:sldMkLst>
          <pc:docMk/>
          <pc:sldMk cId="101557646" sldId="2147473662"/>
        </pc:sldMkLst>
        <pc:spChg chg="mod">
          <ac:chgData name="Tường SKHĐT" userId="ab9568c39a88b08a" providerId="LiveId" clId="{6633AFB9-5A1F-4E00-B171-13D11DB7E501}" dt="2023-05-31T03:10:28.771" v="317" actId="207"/>
          <ac:spMkLst>
            <pc:docMk/>
            <pc:sldMk cId="101557646" sldId="2147473662"/>
            <ac:spMk id="6" creationId="{06D03D79-0B62-8633-2463-3F508B07C798}"/>
          </ac:spMkLst>
        </pc:spChg>
        <pc:spChg chg="mod">
          <ac:chgData name="Tường SKHĐT" userId="ab9568c39a88b08a" providerId="LiveId" clId="{6633AFB9-5A1F-4E00-B171-13D11DB7E501}" dt="2023-05-31T03:10:24.305" v="316" actId="207"/>
          <ac:spMkLst>
            <pc:docMk/>
            <pc:sldMk cId="101557646" sldId="2147473662"/>
            <ac:spMk id="7" creationId="{E6639C72-69F2-1AB3-FDD1-BBD1532EF732}"/>
          </ac:spMkLst>
        </pc:spChg>
        <pc:spChg chg="mod">
          <ac:chgData name="Tường SKHĐT" userId="ab9568c39a88b08a" providerId="LiveId" clId="{6633AFB9-5A1F-4E00-B171-13D11DB7E501}" dt="2023-05-31T03:45:36.356" v="463" actId="20577"/>
          <ac:spMkLst>
            <pc:docMk/>
            <pc:sldMk cId="101557646" sldId="2147473662"/>
            <ac:spMk id="9" creationId="{55CECF2F-2963-B5C2-64D3-3DA4CDF3FDDD}"/>
          </ac:spMkLst>
        </pc:spChg>
        <pc:spChg chg="mod">
          <ac:chgData name="Tường SKHĐT" userId="ab9568c39a88b08a" providerId="LiveId" clId="{6633AFB9-5A1F-4E00-B171-13D11DB7E501}" dt="2023-05-31T08:30:54.027" v="514" actId="20577"/>
          <ac:spMkLst>
            <pc:docMk/>
            <pc:sldMk cId="101557646" sldId="2147473662"/>
            <ac:spMk id="10" creationId="{99B4B44D-D9C2-C082-591B-8A4A5C18BE6A}"/>
          </ac:spMkLst>
        </pc:spChg>
      </pc:sldChg>
      <pc:sldChg chg="modSp add mod">
        <pc:chgData name="Tường SKHĐT" userId="ab9568c39a88b08a" providerId="LiveId" clId="{6633AFB9-5A1F-4E00-B171-13D11DB7E501}" dt="2023-05-31T02:40:43.683" v="55" actId="403"/>
        <pc:sldMkLst>
          <pc:docMk/>
          <pc:sldMk cId="2878997254" sldId="2147473740"/>
        </pc:sldMkLst>
        <pc:spChg chg="mod">
          <ac:chgData name="Tường SKHĐT" userId="ab9568c39a88b08a" providerId="LiveId" clId="{6633AFB9-5A1F-4E00-B171-13D11DB7E501}" dt="2023-05-31T02:40:21.399" v="54" actId="1076"/>
          <ac:spMkLst>
            <pc:docMk/>
            <pc:sldMk cId="2878997254" sldId="2147473740"/>
            <ac:spMk id="12" creationId="{8A67A444-F448-A9A5-7360-DFFFEB3A5F6E}"/>
          </ac:spMkLst>
        </pc:spChg>
        <pc:graphicFrameChg chg="mod">
          <ac:chgData name="Tường SKHĐT" userId="ab9568c39a88b08a" providerId="LiveId" clId="{6633AFB9-5A1F-4E00-B171-13D11DB7E501}" dt="2023-05-31T02:40:43.683" v="55" actId="403"/>
          <ac:graphicFrameMkLst>
            <pc:docMk/>
            <pc:sldMk cId="2878997254" sldId="2147473740"/>
            <ac:graphicFrameMk id="9" creationId="{0738877F-56EF-4DEF-B5AA-1664DC8186CF}"/>
          </ac:graphicFrameMkLst>
        </pc:graphicFrameChg>
      </pc:sldChg>
      <pc:sldChg chg="addSp delSp modSp add mod">
        <pc:chgData name="Tường SKHĐT" userId="ab9568c39a88b08a" providerId="LiveId" clId="{6633AFB9-5A1F-4E00-B171-13D11DB7E501}" dt="2023-05-31T03:31:32.135" v="393" actId="207"/>
        <pc:sldMkLst>
          <pc:docMk/>
          <pc:sldMk cId="294938041" sldId="2147473741"/>
        </pc:sldMkLst>
        <pc:graphicFrameChg chg="del">
          <ac:chgData name="Tường SKHĐT" userId="ab9568c39a88b08a" providerId="LiveId" clId="{6633AFB9-5A1F-4E00-B171-13D11DB7E501}" dt="2023-05-31T03:17:07.108" v="319" actId="21"/>
          <ac:graphicFrameMkLst>
            <pc:docMk/>
            <pc:sldMk cId="294938041" sldId="2147473741"/>
            <ac:graphicFrameMk id="2" creationId="{94FF6E71-DFEF-870E-130E-8547AEBD7401}"/>
          </ac:graphicFrameMkLst>
        </pc:graphicFrameChg>
        <pc:graphicFrameChg chg="add mod">
          <ac:chgData name="Tường SKHĐT" userId="ab9568c39a88b08a" providerId="LiveId" clId="{6633AFB9-5A1F-4E00-B171-13D11DB7E501}" dt="2023-05-31T03:31:32.135" v="393" actId="207"/>
          <ac:graphicFrameMkLst>
            <pc:docMk/>
            <pc:sldMk cId="294938041" sldId="2147473741"/>
            <ac:graphicFrameMk id="5" creationId="{1B630313-B304-43FE-1F3A-BFDCCD81BBE4}"/>
          </ac:graphicFrameMkLst>
        </pc:graphicFrameChg>
      </pc:sldChg>
      <pc:sldChg chg="addSp delSp modSp add mod">
        <pc:chgData name="Tường SKHĐT" userId="ab9568c39a88b08a" providerId="LiveId" clId="{6633AFB9-5A1F-4E00-B171-13D11DB7E501}" dt="2023-05-31T03:32:31.063" v="401" actId="404"/>
        <pc:sldMkLst>
          <pc:docMk/>
          <pc:sldMk cId="1604113191" sldId="2147473742"/>
        </pc:sldMkLst>
        <pc:spChg chg="mod">
          <ac:chgData name="Tường SKHĐT" userId="ab9568c39a88b08a" providerId="LiveId" clId="{6633AFB9-5A1F-4E00-B171-13D11DB7E501}" dt="2023-05-31T03:30:59.005" v="388" actId="20577"/>
          <ac:spMkLst>
            <pc:docMk/>
            <pc:sldMk cId="1604113191" sldId="2147473742"/>
            <ac:spMk id="4" creationId="{5CDB4122-EC53-12DB-1589-C6E8678CCB1C}"/>
          </ac:spMkLst>
        </pc:spChg>
        <pc:graphicFrameChg chg="del">
          <ac:chgData name="Tường SKHĐT" userId="ab9568c39a88b08a" providerId="LiveId" clId="{6633AFB9-5A1F-4E00-B171-13D11DB7E501}" dt="2023-05-31T03:29:19.952" v="356" actId="21"/>
          <ac:graphicFrameMkLst>
            <pc:docMk/>
            <pc:sldMk cId="1604113191" sldId="2147473742"/>
            <ac:graphicFrameMk id="2" creationId="{99BD0635-1801-0FB5-6FF9-00CF35874E63}"/>
          </ac:graphicFrameMkLst>
        </pc:graphicFrameChg>
        <pc:graphicFrameChg chg="add mod">
          <ac:chgData name="Tường SKHĐT" userId="ab9568c39a88b08a" providerId="LiveId" clId="{6633AFB9-5A1F-4E00-B171-13D11DB7E501}" dt="2023-05-31T03:32:31.063" v="401" actId="404"/>
          <ac:graphicFrameMkLst>
            <pc:docMk/>
            <pc:sldMk cId="1604113191" sldId="2147473742"/>
            <ac:graphicFrameMk id="3" creationId="{0636A76A-35B9-0329-EF8B-185DBFAD93AA}"/>
          </ac:graphicFrameMkLst>
        </pc:graphicFrameChg>
      </pc:sldChg>
      <pc:sldChg chg="addSp delSp modSp add mod">
        <pc:chgData name="Tường SKHĐT" userId="ab9568c39a88b08a" providerId="LiveId" clId="{6633AFB9-5A1F-4E00-B171-13D11DB7E501}" dt="2023-05-31T09:45:57.344" v="620" actId="14100"/>
        <pc:sldMkLst>
          <pc:docMk/>
          <pc:sldMk cId="276788838" sldId="2147473743"/>
        </pc:sldMkLst>
        <pc:graphicFrameChg chg="add del mod modGraphic">
          <ac:chgData name="Tường SKHĐT" userId="ab9568c39a88b08a" providerId="LiveId" clId="{6633AFB9-5A1F-4E00-B171-13D11DB7E501}" dt="2023-05-31T09:45:52.949" v="619" actId="20577"/>
          <ac:graphicFrameMkLst>
            <pc:docMk/>
            <pc:sldMk cId="276788838" sldId="2147473743"/>
            <ac:graphicFrameMk id="2" creationId="{3E45EC01-8919-CDD1-BF49-FD790779B8D8}"/>
          </ac:graphicFrameMkLst>
        </pc:graphicFrameChg>
        <pc:graphicFrameChg chg="del mod">
          <ac:chgData name="Tường SKHĐT" userId="ab9568c39a88b08a" providerId="LiveId" clId="{6633AFB9-5A1F-4E00-B171-13D11DB7E501}" dt="2023-05-31T09:44:52.170" v="573" actId="21"/>
          <ac:graphicFrameMkLst>
            <pc:docMk/>
            <pc:sldMk cId="276788838" sldId="2147473743"/>
            <ac:graphicFrameMk id="3" creationId="{B97D6AD9-427C-D4DD-EB8A-E52240D50DDC}"/>
          </ac:graphicFrameMkLst>
        </pc:graphicFrameChg>
        <pc:graphicFrameChg chg="del mod">
          <ac:chgData name="Tường SKHĐT" userId="ab9568c39a88b08a" providerId="LiveId" clId="{6633AFB9-5A1F-4E00-B171-13D11DB7E501}" dt="2023-05-31T09:45:31.152" v="577" actId="21"/>
          <ac:graphicFrameMkLst>
            <pc:docMk/>
            <pc:sldMk cId="276788838" sldId="2147473743"/>
            <ac:graphicFrameMk id="4" creationId="{E9E09300-0406-7225-E3DF-8058DE1AA30C}"/>
          </ac:graphicFrameMkLst>
        </pc:graphicFrameChg>
        <pc:graphicFrameChg chg="mod">
          <ac:chgData name="Tường SKHĐT" userId="ab9568c39a88b08a" providerId="LiveId" clId="{6633AFB9-5A1F-4E00-B171-13D11DB7E501}" dt="2023-05-31T09:45:57.344" v="620" actId="14100"/>
          <ac:graphicFrameMkLst>
            <pc:docMk/>
            <pc:sldMk cId="276788838" sldId="2147473743"/>
            <ac:graphicFrameMk id="5" creationId="{A12A8C36-ABD5-9F37-3859-60C635D270CE}"/>
          </ac:graphicFrameMkLst>
        </pc:graphicFrameChg>
        <pc:graphicFrameChg chg="del">
          <ac:chgData name="Tường SKHĐT" userId="ab9568c39a88b08a" providerId="LiveId" clId="{6633AFB9-5A1F-4E00-B171-13D11DB7E501}" dt="2023-05-31T09:40:29.712" v="566" actId="21"/>
          <ac:graphicFrameMkLst>
            <pc:docMk/>
            <pc:sldMk cId="276788838" sldId="2147473743"/>
            <ac:graphicFrameMk id="7" creationId="{BD7AA84A-7BB7-C999-60CC-D8478BD0C8EB}"/>
          </ac:graphicFrameMkLst>
        </pc:graphicFrameChg>
      </pc:sldChg>
    </pc:docChg>
  </pc:docChgLst>
  <pc:docChgLst>
    <pc:chgData name="Tường SKHĐT" userId="ab9568c39a88b08a" providerId="LiveId" clId="{BA072062-42DC-4C4B-B22E-317669E71C29}"/>
    <pc:docChg chg="undo custSel delSld modSld">
      <pc:chgData name="Tường SKHĐT" userId="ab9568c39a88b08a" providerId="LiveId" clId="{BA072062-42DC-4C4B-B22E-317669E71C29}" dt="2023-06-20T01:57:48.170" v="252" actId="1076"/>
      <pc:docMkLst>
        <pc:docMk/>
      </pc:docMkLst>
      <pc:sldChg chg="modSp mod">
        <pc:chgData name="Tường SKHĐT" userId="ab9568c39a88b08a" providerId="LiveId" clId="{BA072062-42DC-4C4B-B22E-317669E71C29}" dt="2023-06-20T01:47:13.532" v="21" actId="1076"/>
        <pc:sldMkLst>
          <pc:docMk/>
          <pc:sldMk cId="1596329165" sldId="455"/>
        </pc:sldMkLst>
        <pc:spChg chg="mod">
          <ac:chgData name="Tường SKHĐT" userId="ab9568c39a88b08a" providerId="LiveId" clId="{BA072062-42DC-4C4B-B22E-317669E71C29}" dt="2023-06-20T01:47:10.361" v="20" actId="1076"/>
          <ac:spMkLst>
            <pc:docMk/>
            <pc:sldMk cId="1596329165" sldId="455"/>
            <ac:spMk id="7" creationId="{E508593D-8C0D-4163-9A4A-7D6922F8A0DF}"/>
          </ac:spMkLst>
        </pc:spChg>
        <pc:grpChg chg="mod">
          <ac:chgData name="Tường SKHĐT" userId="ab9568c39a88b08a" providerId="LiveId" clId="{BA072062-42DC-4C4B-B22E-317669E71C29}" dt="2023-06-20T01:47:13.532" v="21" actId="1076"/>
          <ac:grpSpMkLst>
            <pc:docMk/>
            <pc:sldMk cId="1596329165" sldId="455"/>
            <ac:grpSpMk id="17" creationId="{6BEB7F04-DEC3-47AD-A430-C67E8368B8AA}"/>
          </ac:grpSpMkLst>
        </pc:grpChg>
      </pc:sldChg>
      <pc:sldChg chg="del">
        <pc:chgData name="Tường SKHĐT" userId="ab9568c39a88b08a" providerId="LiveId" clId="{BA072062-42DC-4C4B-B22E-317669E71C29}" dt="2023-06-20T01:52:33.233" v="176" actId="2696"/>
        <pc:sldMkLst>
          <pc:docMk/>
          <pc:sldMk cId="2016091477" sldId="608"/>
        </pc:sldMkLst>
      </pc:sldChg>
      <pc:sldChg chg="modSp mod">
        <pc:chgData name="Tường SKHĐT" userId="ab9568c39a88b08a" providerId="LiveId" clId="{BA072062-42DC-4C4B-B22E-317669E71C29}" dt="2023-06-20T01:52:15.391" v="174" actId="20577"/>
        <pc:sldMkLst>
          <pc:docMk/>
          <pc:sldMk cId="3898226705" sldId="2147468741"/>
        </pc:sldMkLst>
        <pc:spChg chg="mod">
          <ac:chgData name="Tường SKHĐT" userId="ab9568c39a88b08a" providerId="LiveId" clId="{BA072062-42DC-4C4B-B22E-317669E71C29}" dt="2023-06-20T01:52:15.391" v="174" actId="20577"/>
          <ac:spMkLst>
            <pc:docMk/>
            <pc:sldMk cId="3898226705" sldId="2147468741"/>
            <ac:spMk id="4" creationId="{A8ED73C0-6DEB-F036-A81D-A84B4FA62951}"/>
          </ac:spMkLst>
        </pc:spChg>
      </pc:sldChg>
      <pc:sldChg chg="modSp mod">
        <pc:chgData name="Tường SKHĐT" userId="ab9568c39a88b08a" providerId="LiveId" clId="{BA072062-42DC-4C4B-B22E-317669E71C29}" dt="2023-06-20T01:49:04.705" v="54" actId="20577"/>
        <pc:sldMkLst>
          <pc:docMk/>
          <pc:sldMk cId="98016993" sldId="2147473493"/>
        </pc:sldMkLst>
        <pc:spChg chg="mod">
          <ac:chgData name="Tường SKHĐT" userId="ab9568c39a88b08a" providerId="LiveId" clId="{BA072062-42DC-4C4B-B22E-317669E71C29}" dt="2023-06-20T01:49:04.705" v="54" actId="20577"/>
          <ac:spMkLst>
            <pc:docMk/>
            <pc:sldMk cId="98016993" sldId="2147473493"/>
            <ac:spMk id="8" creationId="{50A9C000-165F-E95A-7887-87E444772F67}"/>
          </ac:spMkLst>
        </pc:spChg>
      </pc:sldChg>
      <pc:sldChg chg="del">
        <pc:chgData name="Tường SKHĐT" userId="ab9568c39a88b08a" providerId="LiveId" clId="{BA072062-42DC-4C4B-B22E-317669E71C29}" dt="2023-06-20T01:52:52.544" v="178" actId="2696"/>
        <pc:sldMkLst>
          <pc:docMk/>
          <pc:sldMk cId="2802465441" sldId="2147473522"/>
        </pc:sldMkLst>
      </pc:sldChg>
      <pc:sldChg chg="modSp mod">
        <pc:chgData name="Tường SKHĐT" userId="ab9568c39a88b08a" providerId="LiveId" clId="{BA072062-42DC-4C4B-B22E-317669E71C29}" dt="2023-06-20T01:48:53.336" v="53" actId="1076"/>
        <pc:sldMkLst>
          <pc:docMk/>
          <pc:sldMk cId="1079553522" sldId="2147473530"/>
        </pc:sldMkLst>
        <pc:spChg chg="mod">
          <ac:chgData name="Tường SKHĐT" userId="ab9568c39a88b08a" providerId="LiveId" clId="{BA072062-42DC-4C4B-B22E-317669E71C29}" dt="2023-06-20T01:48:08.271" v="22" actId="14100"/>
          <ac:spMkLst>
            <pc:docMk/>
            <pc:sldMk cId="1079553522" sldId="2147473530"/>
            <ac:spMk id="3" creationId="{C7EF3BED-81DF-2DD1-C4B4-7B19AE4E2F47}"/>
          </ac:spMkLst>
        </pc:spChg>
        <pc:spChg chg="mod">
          <ac:chgData name="Tường SKHĐT" userId="ab9568c39a88b08a" providerId="LiveId" clId="{BA072062-42DC-4C4B-B22E-317669E71C29}" dt="2023-06-20T01:48:53.336" v="53" actId="1076"/>
          <ac:spMkLst>
            <pc:docMk/>
            <pc:sldMk cId="1079553522" sldId="2147473530"/>
            <ac:spMk id="4" creationId="{A8ED73C0-6DEB-F036-A81D-A84B4FA62951}"/>
          </ac:spMkLst>
        </pc:spChg>
        <pc:spChg chg="mod">
          <ac:chgData name="Tường SKHĐT" userId="ab9568c39a88b08a" providerId="LiveId" clId="{BA072062-42DC-4C4B-B22E-317669E71C29}" dt="2023-06-20T01:48:24.780" v="26" actId="14100"/>
          <ac:spMkLst>
            <pc:docMk/>
            <pc:sldMk cId="1079553522" sldId="2147473530"/>
            <ac:spMk id="9" creationId="{AEB693ED-476B-E950-769B-2EB75A7D8DE8}"/>
          </ac:spMkLst>
        </pc:spChg>
        <pc:spChg chg="mod">
          <ac:chgData name="Tường SKHĐT" userId="ab9568c39a88b08a" providerId="LiveId" clId="{BA072062-42DC-4C4B-B22E-317669E71C29}" dt="2023-06-20T01:48:24.171" v="25" actId="688"/>
          <ac:spMkLst>
            <pc:docMk/>
            <pc:sldMk cId="1079553522" sldId="2147473530"/>
            <ac:spMk id="10" creationId="{AB93E868-C3B5-B18D-8957-E69A45CFF9DE}"/>
          </ac:spMkLst>
        </pc:spChg>
      </pc:sldChg>
      <pc:sldChg chg="addSp modSp mod">
        <pc:chgData name="Tường SKHĐT" userId="ab9568c39a88b08a" providerId="LiveId" clId="{BA072062-42DC-4C4B-B22E-317669E71C29}" dt="2023-06-20T01:57:03.262" v="251" actId="20577"/>
        <pc:sldMkLst>
          <pc:docMk/>
          <pc:sldMk cId="2835104792" sldId="2147473580"/>
        </pc:sldMkLst>
        <pc:spChg chg="add mod">
          <ac:chgData name="Tường SKHĐT" userId="ab9568c39a88b08a" providerId="LiveId" clId="{BA072062-42DC-4C4B-B22E-317669E71C29}" dt="2023-06-20T01:57:03.262" v="251" actId="20577"/>
          <ac:spMkLst>
            <pc:docMk/>
            <pc:sldMk cId="2835104792" sldId="2147473580"/>
            <ac:spMk id="3" creationId="{333123EF-60AF-BD7D-6BA9-773F800C4863}"/>
          </ac:spMkLst>
        </pc:spChg>
      </pc:sldChg>
      <pc:sldChg chg="modSp mod">
        <pc:chgData name="Tường SKHĐT" userId="ab9568c39a88b08a" providerId="LiveId" clId="{BA072062-42DC-4C4B-B22E-317669E71C29}" dt="2023-06-20T01:57:48.170" v="252" actId="1076"/>
        <pc:sldMkLst>
          <pc:docMk/>
          <pc:sldMk cId="2155607679" sldId="2147473581"/>
        </pc:sldMkLst>
        <pc:spChg chg="mod">
          <ac:chgData name="Tường SKHĐT" userId="ab9568c39a88b08a" providerId="LiveId" clId="{BA072062-42DC-4C4B-B22E-317669E71C29}" dt="2023-06-20T01:57:48.170" v="252" actId="1076"/>
          <ac:spMkLst>
            <pc:docMk/>
            <pc:sldMk cId="2155607679" sldId="2147473581"/>
            <ac:spMk id="2" creationId="{A49FA47D-1679-133E-0301-5CFB76FC4F8D}"/>
          </ac:spMkLst>
        </pc:spChg>
      </pc:sldChg>
      <pc:sldChg chg="del">
        <pc:chgData name="Tường SKHĐT" userId="ab9568c39a88b08a" providerId="LiveId" clId="{BA072062-42DC-4C4B-B22E-317669E71C29}" dt="2023-06-20T01:52:28.331" v="175" actId="2696"/>
        <pc:sldMkLst>
          <pc:docMk/>
          <pc:sldMk cId="3397864268" sldId="2147473590"/>
        </pc:sldMkLst>
      </pc:sldChg>
      <pc:sldChg chg="modSp">
        <pc:chgData name="Tường SKHĐT" userId="ab9568c39a88b08a" providerId="LiveId" clId="{BA072062-42DC-4C4B-B22E-317669E71C29}" dt="2023-06-20T01:55:31.322" v="212" actId="20577"/>
        <pc:sldMkLst>
          <pc:docMk/>
          <pc:sldMk cId="2171956986" sldId="2147473620"/>
        </pc:sldMkLst>
        <pc:graphicFrameChg chg="mod">
          <ac:chgData name="Tường SKHĐT" userId="ab9568c39a88b08a" providerId="LiveId" clId="{BA072062-42DC-4C4B-B22E-317669E71C29}" dt="2023-06-20T01:55:31.322" v="212" actId="20577"/>
          <ac:graphicFrameMkLst>
            <pc:docMk/>
            <pc:sldMk cId="2171956986" sldId="2147473620"/>
            <ac:graphicFrameMk id="6" creationId="{00000000-0000-0000-0000-000000000000}"/>
          </ac:graphicFrameMkLst>
        </pc:graphicFrameChg>
      </pc:sldChg>
      <pc:sldChg chg="del">
        <pc:chgData name="Tường SKHĐT" userId="ab9568c39a88b08a" providerId="LiveId" clId="{BA072062-42DC-4C4B-B22E-317669E71C29}" dt="2023-06-20T01:52:33.233" v="176" actId="2696"/>
        <pc:sldMkLst>
          <pc:docMk/>
          <pc:sldMk cId="1387142198" sldId="2147473622"/>
        </pc:sldMkLst>
      </pc:sldChg>
      <pc:sldChg chg="del">
        <pc:chgData name="Tường SKHĐT" userId="ab9568c39a88b08a" providerId="LiveId" clId="{BA072062-42DC-4C4B-B22E-317669E71C29}" dt="2023-06-20T01:55:41.841" v="213" actId="2696"/>
        <pc:sldMkLst>
          <pc:docMk/>
          <pc:sldMk cId="67746271" sldId="2147473699"/>
        </pc:sldMkLst>
      </pc:sldChg>
      <pc:sldChg chg="addSp modSp mod">
        <pc:chgData name="Tường SKHĐT" userId="ab9568c39a88b08a" providerId="LiveId" clId="{BA072062-42DC-4C4B-B22E-317669E71C29}" dt="2023-06-20T01:56:36.406" v="234" actId="403"/>
        <pc:sldMkLst>
          <pc:docMk/>
          <pc:sldMk cId="1384294736" sldId="2147473707"/>
        </pc:sldMkLst>
        <pc:spChg chg="mod">
          <ac:chgData name="Tường SKHĐT" userId="ab9568c39a88b08a" providerId="LiveId" clId="{BA072062-42DC-4C4B-B22E-317669E71C29}" dt="2023-06-20T01:56:31.956" v="232" actId="1076"/>
          <ac:spMkLst>
            <pc:docMk/>
            <pc:sldMk cId="1384294736" sldId="2147473707"/>
            <ac:spMk id="2" creationId="{A49FA47D-1679-133E-0301-5CFB76FC4F8D}"/>
          </ac:spMkLst>
        </pc:spChg>
        <pc:spChg chg="add mod">
          <ac:chgData name="Tường SKHĐT" userId="ab9568c39a88b08a" providerId="LiveId" clId="{BA072062-42DC-4C4B-B22E-317669E71C29}" dt="2023-06-20T01:56:36.406" v="234" actId="403"/>
          <ac:spMkLst>
            <pc:docMk/>
            <pc:sldMk cId="1384294736" sldId="2147473707"/>
            <ac:spMk id="3" creationId="{F89D833D-22D2-CF17-6925-C6CB1B4F5938}"/>
          </ac:spMkLst>
        </pc:spChg>
        <pc:graphicFrameChg chg="mod">
          <ac:chgData name="Tường SKHĐT" userId="ab9568c39a88b08a" providerId="LiveId" clId="{BA072062-42DC-4C4B-B22E-317669E71C29}" dt="2023-06-20T01:55:59.040" v="229" actId="20577"/>
          <ac:graphicFrameMkLst>
            <pc:docMk/>
            <pc:sldMk cId="1384294736" sldId="2147473707"/>
            <ac:graphicFrameMk id="6" creationId="{00000000-0000-0000-0000-000000000000}"/>
          </ac:graphicFrameMkLst>
        </pc:graphicFrameChg>
      </pc:sldChg>
      <pc:sldChg chg="del">
        <pc:chgData name="Tường SKHĐT" userId="ab9568c39a88b08a" providerId="LiveId" clId="{BA072062-42DC-4C4B-B22E-317669E71C29}" dt="2023-06-20T01:55:02.145" v="199" actId="2696"/>
        <pc:sldMkLst>
          <pc:docMk/>
          <pc:sldMk cId="3359369898" sldId="2147473710"/>
        </pc:sldMkLst>
      </pc:sldChg>
      <pc:sldChg chg="delSp modSp mod">
        <pc:chgData name="Tường SKHĐT" userId="ab9568c39a88b08a" providerId="LiveId" clId="{BA072062-42DC-4C4B-B22E-317669E71C29}" dt="2023-06-20T01:53:20.896" v="187" actId="1076"/>
        <pc:sldMkLst>
          <pc:docMk/>
          <pc:sldMk cId="505796185" sldId="2147473729"/>
        </pc:sldMkLst>
        <pc:graphicFrameChg chg="del">
          <ac:chgData name="Tường SKHĐT" userId="ab9568c39a88b08a" providerId="LiveId" clId="{BA072062-42DC-4C4B-B22E-317669E71C29}" dt="2023-06-20T01:53:12.066" v="184" actId="21"/>
          <ac:graphicFrameMkLst>
            <pc:docMk/>
            <pc:sldMk cId="505796185" sldId="2147473729"/>
            <ac:graphicFrameMk id="2" creationId="{00000000-0000-0000-0000-000000000000}"/>
          </ac:graphicFrameMkLst>
        </pc:graphicFrameChg>
        <pc:graphicFrameChg chg="mod modGraphic">
          <ac:chgData name="Tường SKHĐT" userId="ab9568c39a88b08a" providerId="LiveId" clId="{BA072062-42DC-4C4B-B22E-317669E71C29}" dt="2023-06-20T01:53:20.896" v="187" actId="1076"/>
          <ac:graphicFrameMkLst>
            <pc:docMk/>
            <pc:sldMk cId="505796185" sldId="2147473729"/>
            <ac:graphicFrameMk id="3" creationId="{19F8C869-87A6-0F98-C7BC-7F547BC514A6}"/>
          </ac:graphicFrameMkLst>
        </pc:graphicFrameChg>
      </pc:sldChg>
      <pc:sldChg chg="del">
        <pc:chgData name="Tường SKHĐT" userId="ab9568c39a88b08a" providerId="LiveId" clId="{BA072062-42DC-4C4B-B22E-317669E71C29}" dt="2023-06-20T01:55:20.087" v="200" actId="2696"/>
        <pc:sldMkLst>
          <pc:docMk/>
          <pc:sldMk cId="743790770" sldId="2147473752"/>
        </pc:sldMkLst>
      </pc:sldChg>
      <pc:sldChg chg="del">
        <pc:chgData name="Tường SKHĐT" userId="ab9568c39a88b08a" providerId="LiveId" clId="{BA072062-42DC-4C4B-B22E-317669E71C29}" dt="2023-06-20T01:52:33.233" v="176" actId="2696"/>
        <pc:sldMkLst>
          <pc:docMk/>
          <pc:sldMk cId="639639902" sldId="2147473754"/>
        </pc:sldMkLst>
      </pc:sldChg>
      <pc:sldChg chg="del">
        <pc:chgData name="Tường SKHĐT" userId="ab9568c39a88b08a" providerId="LiveId" clId="{BA072062-42DC-4C4B-B22E-317669E71C29}" dt="2023-06-20T01:53:58.083" v="191" actId="2696"/>
        <pc:sldMkLst>
          <pc:docMk/>
          <pc:sldMk cId="3587433405" sldId="2147473759"/>
        </pc:sldMkLst>
      </pc:sldChg>
      <pc:sldChg chg="del">
        <pc:chgData name="Tường SKHĐT" userId="ab9568c39a88b08a" providerId="LiveId" clId="{BA072062-42DC-4C4B-B22E-317669E71C29}" dt="2023-06-20T01:49:54.722" v="68" actId="2696"/>
        <pc:sldMkLst>
          <pc:docMk/>
          <pc:sldMk cId="4255944904" sldId="2147473766"/>
        </pc:sldMkLst>
      </pc:sldChg>
      <pc:sldChg chg="del">
        <pc:chgData name="Tường SKHĐT" userId="ab9568c39a88b08a" providerId="LiveId" clId="{BA072062-42DC-4C4B-B22E-317669E71C29}" dt="2023-06-20T01:49:57.943" v="69" actId="2696"/>
        <pc:sldMkLst>
          <pc:docMk/>
          <pc:sldMk cId="2518956890" sldId="2147473767"/>
        </pc:sldMkLst>
      </pc:sldChg>
      <pc:sldChg chg="modSp mod">
        <pc:chgData name="Tường SKHĐT" userId="ab9568c39a88b08a" providerId="LiveId" clId="{BA072062-42DC-4C4B-B22E-317669E71C29}" dt="2023-06-20T01:52:56.121" v="183" actId="20577"/>
        <pc:sldMkLst>
          <pc:docMk/>
          <pc:sldMk cId="1424456270" sldId="2147473768"/>
        </pc:sldMkLst>
        <pc:spChg chg="mod">
          <ac:chgData name="Tường SKHĐT" userId="ab9568c39a88b08a" providerId="LiveId" clId="{BA072062-42DC-4C4B-B22E-317669E71C29}" dt="2023-06-20T01:52:56.121" v="183" actId="20577"/>
          <ac:spMkLst>
            <pc:docMk/>
            <pc:sldMk cId="1424456270" sldId="2147473768"/>
            <ac:spMk id="25" creationId="{01DC26C3-E6F4-C27A-8624-3A65D81B6008}"/>
          </ac:spMkLst>
        </pc:spChg>
      </pc:sldChg>
      <pc:sldChg chg="del">
        <pc:chgData name="Tường SKHĐT" userId="ab9568c39a88b08a" providerId="LiveId" clId="{BA072062-42DC-4C4B-B22E-317669E71C29}" dt="2023-06-20T01:52:47.149" v="177" actId="2696"/>
        <pc:sldMkLst>
          <pc:docMk/>
          <pc:sldMk cId="2280649645" sldId="2147473769"/>
        </pc:sldMkLst>
      </pc:sldChg>
      <pc:sldChg chg="del">
        <pc:chgData name="Tường SKHĐT" userId="ab9568c39a88b08a" providerId="LiveId" clId="{BA072062-42DC-4C4B-B22E-317669E71C29}" dt="2023-06-20T01:53:47.566" v="188" actId="2696"/>
        <pc:sldMkLst>
          <pc:docMk/>
          <pc:sldMk cId="1652311740" sldId="2147473795"/>
        </pc:sldMkLst>
      </pc:sldChg>
      <pc:sldChg chg="modSp mod">
        <pc:chgData name="Tường SKHĐT" userId="ab9568c39a88b08a" providerId="LiveId" clId="{BA072062-42DC-4C4B-B22E-317669E71C29}" dt="2023-06-20T01:54:02.462" v="193" actId="20577"/>
        <pc:sldMkLst>
          <pc:docMk/>
          <pc:sldMk cId="374992807" sldId="2147473797"/>
        </pc:sldMkLst>
        <pc:spChg chg="mod">
          <ac:chgData name="Tường SKHĐT" userId="ab9568c39a88b08a" providerId="LiveId" clId="{BA072062-42DC-4C4B-B22E-317669E71C29}" dt="2023-06-20T01:54:02.462" v="193" actId="20577"/>
          <ac:spMkLst>
            <pc:docMk/>
            <pc:sldMk cId="374992807" sldId="2147473797"/>
            <ac:spMk id="3" creationId="{903B4ABF-B441-1F98-8475-ADC2F5108218}"/>
          </ac:spMkLst>
        </pc:spChg>
      </pc:sldChg>
      <pc:sldChg chg="modSp mod">
        <pc:chgData name="Tường SKHĐT" userId="ab9568c39a88b08a" providerId="LiveId" clId="{BA072062-42DC-4C4B-B22E-317669E71C29}" dt="2023-06-20T01:54:07.815" v="195" actId="20577"/>
        <pc:sldMkLst>
          <pc:docMk/>
          <pc:sldMk cId="2028050016" sldId="2147473800"/>
        </pc:sldMkLst>
        <pc:spChg chg="mod">
          <ac:chgData name="Tường SKHĐT" userId="ab9568c39a88b08a" providerId="LiveId" clId="{BA072062-42DC-4C4B-B22E-317669E71C29}" dt="2023-06-20T01:54:07.815" v="195" actId="20577"/>
          <ac:spMkLst>
            <pc:docMk/>
            <pc:sldMk cId="2028050016" sldId="2147473800"/>
            <ac:spMk id="25" creationId="{01DC26C3-E6F4-C27A-8624-3A65D81B6008}"/>
          </ac:spMkLst>
        </pc:spChg>
      </pc:sldChg>
      <pc:sldChg chg="del">
        <pc:chgData name="Tường SKHĐT" userId="ab9568c39a88b08a" providerId="LiveId" clId="{BA072062-42DC-4C4B-B22E-317669E71C29}" dt="2023-06-20T01:50:03.948" v="70" actId="2696"/>
        <pc:sldMkLst>
          <pc:docMk/>
          <pc:sldMk cId="3095520690" sldId="2147473801"/>
        </pc:sldMkLst>
      </pc:sldChg>
      <pc:sldChg chg="del">
        <pc:chgData name="Tường SKHĐT" userId="ab9568c39a88b08a" providerId="LiveId" clId="{BA072062-42DC-4C4B-B22E-317669E71C29}" dt="2023-06-20T01:50:03.948" v="70" actId="2696"/>
        <pc:sldMkLst>
          <pc:docMk/>
          <pc:sldMk cId="3887791985" sldId="2147473805"/>
        </pc:sldMkLst>
      </pc:sldChg>
      <pc:sldChg chg="del">
        <pc:chgData name="Tường SKHĐT" userId="ab9568c39a88b08a" providerId="LiveId" clId="{BA072062-42DC-4C4B-B22E-317669E71C29}" dt="2023-06-20T01:50:03.948" v="70" actId="2696"/>
        <pc:sldMkLst>
          <pc:docMk/>
          <pc:sldMk cId="520020494" sldId="2147473806"/>
        </pc:sldMkLst>
      </pc:sldChg>
      <pc:sldChg chg="del">
        <pc:chgData name="Tường SKHĐT" userId="ab9568c39a88b08a" providerId="LiveId" clId="{BA072062-42DC-4C4B-B22E-317669E71C29}" dt="2023-06-20T01:49:29.516" v="61" actId="2696"/>
        <pc:sldMkLst>
          <pc:docMk/>
          <pc:sldMk cId="3832623815" sldId="2147473815"/>
        </pc:sldMkLst>
      </pc:sldChg>
      <pc:sldChg chg="del">
        <pc:chgData name="Tường SKHĐT" userId="ab9568c39a88b08a" providerId="LiveId" clId="{BA072062-42DC-4C4B-B22E-317669E71C29}" dt="2023-06-20T01:49:32.166" v="62" actId="2696"/>
        <pc:sldMkLst>
          <pc:docMk/>
          <pc:sldMk cId="3991450162" sldId="2147473816"/>
        </pc:sldMkLst>
      </pc:sldChg>
      <pc:sldChg chg="del">
        <pc:chgData name="Tường SKHĐT" userId="ab9568c39a88b08a" providerId="LiveId" clId="{BA072062-42DC-4C4B-B22E-317669E71C29}" dt="2023-06-20T01:49:34.835" v="63" actId="2696"/>
        <pc:sldMkLst>
          <pc:docMk/>
          <pc:sldMk cId="2467822724" sldId="2147473817"/>
        </pc:sldMkLst>
      </pc:sldChg>
      <pc:sldChg chg="del">
        <pc:chgData name="Tường SKHĐT" userId="ab9568c39a88b08a" providerId="LiveId" clId="{BA072062-42DC-4C4B-B22E-317669E71C29}" dt="2023-06-20T01:49:37.842" v="64" actId="2696"/>
        <pc:sldMkLst>
          <pc:docMk/>
          <pc:sldMk cId="163795267" sldId="2147473818"/>
        </pc:sldMkLst>
      </pc:sldChg>
      <pc:sldChg chg="del">
        <pc:chgData name="Tường SKHĐT" userId="ab9568c39a88b08a" providerId="LiveId" clId="{BA072062-42DC-4C4B-B22E-317669E71C29}" dt="2023-06-20T01:49:40.839" v="65" actId="2696"/>
        <pc:sldMkLst>
          <pc:docMk/>
          <pc:sldMk cId="1689242850" sldId="2147473819"/>
        </pc:sldMkLst>
      </pc:sldChg>
      <pc:sldChg chg="del">
        <pc:chgData name="Tường SKHĐT" userId="ab9568c39a88b08a" providerId="LiveId" clId="{BA072062-42DC-4C4B-B22E-317669E71C29}" dt="2023-06-20T01:49:51.930" v="67" actId="2696"/>
        <pc:sldMkLst>
          <pc:docMk/>
          <pc:sldMk cId="4102523892" sldId="2147473820"/>
        </pc:sldMkLst>
      </pc:sldChg>
      <pc:sldChg chg="del">
        <pc:chgData name="Tường SKHĐT" userId="ab9568c39a88b08a" providerId="LiveId" clId="{BA072062-42DC-4C4B-B22E-317669E71C29}" dt="2023-06-20T01:49:47.903" v="66" actId="2696"/>
        <pc:sldMkLst>
          <pc:docMk/>
          <pc:sldMk cId="1767965964" sldId="2147473823"/>
        </pc:sldMkLst>
      </pc:sldChg>
      <pc:sldChg chg="del">
        <pc:chgData name="Tường SKHĐT" userId="ab9568c39a88b08a" providerId="LiveId" clId="{BA072062-42DC-4C4B-B22E-317669E71C29}" dt="2023-06-20T01:49:47.903" v="66" actId="2696"/>
        <pc:sldMkLst>
          <pc:docMk/>
          <pc:sldMk cId="82429981" sldId="2147473824"/>
        </pc:sldMkLst>
      </pc:sldChg>
      <pc:sldChg chg="del">
        <pc:chgData name="Tường SKHĐT" userId="ab9568c39a88b08a" providerId="LiveId" clId="{BA072062-42DC-4C4B-B22E-317669E71C29}" dt="2023-06-20T01:49:47.903" v="66" actId="2696"/>
        <pc:sldMkLst>
          <pc:docMk/>
          <pc:sldMk cId="3237175372" sldId="2147473825"/>
        </pc:sldMkLst>
      </pc:sldChg>
      <pc:sldChg chg="del">
        <pc:chgData name="Tường SKHĐT" userId="ab9568c39a88b08a" providerId="LiveId" clId="{BA072062-42DC-4C4B-B22E-317669E71C29}" dt="2023-06-20T01:49:47.903" v="66" actId="2696"/>
        <pc:sldMkLst>
          <pc:docMk/>
          <pc:sldMk cId="3666924150" sldId="2147473826"/>
        </pc:sldMkLst>
      </pc:sldChg>
      <pc:sldChg chg="del">
        <pc:chgData name="Tường SKHĐT" userId="ab9568c39a88b08a" providerId="LiveId" clId="{BA072062-42DC-4C4B-B22E-317669E71C29}" dt="2023-06-20T01:49:47.903" v="66" actId="2696"/>
        <pc:sldMkLst>
          <pc:docMk/>
          <pc:sldMk cId="3378507048" sldId="2147473827"/>
        </pc:sldMkLst>
      </pc:sldChg>
      <pc:sldChg chg="del">
        <pc:chgData name="Tường SKHĐT" userId="ab9568c39a88b08a" providerId="LiveId" clId="{BA072062-42DC-4C4B-B22E-317669E71C29}" dt="2023-06-20T01:49:47.903" v="66" actId="2696"/>
        <pc:sldMkLst>
          <pc:docMk/>
          <pc:sldMk cId="1987475464" sldId="2147473828"/>
        </pc:sldMkLst>
      </pc:sldChg>
      <pc:sldChg chg="del">
        <pc:chgData name="Tường SKHĐT" userId="ab9568c39a88b08a" providerId="LiveId" clId="{BA072062-42DC-4C4B-B22E-317669E71C29}" dt="2023-06-20T01:49:47.903" v="66" actId="2696"/>
        <pc:sldMkLst>
          <pc:docMk/>
          <pc:sldMk cId="2259173848" sldId="2147473829"/>
        </pc:sldMkLst>
      </pc:sldChg>
      <pc:sldChg chg="del">
        <pc:chgData name="Tường SKHĐT" userId="ab9568c39a88b08a" providerId="LiveId" clId="{BA072062-42DC-4C4B-B22E-317669E71C29}" dt="2023-06-20T01:49:47.903" v="66" actId="2696"/>
        <pc:sldMkLst>
          <pc:docMk/>
          <pc:sldMk cId="1422668918" sldId="2147473830"/>
        </pc:sldMkLst>
      </pc:sldChg>
      <pc:sldChg chg="del">
        <pc:chgData name="Tường SKHĐT" userId="ab9568c39a88b08a" providerId="LiveId" clId="{BA072062-42DC-4C4B-B22E-317669E71C29}" dt="2023-06-20T01:49:47.903" v="66" actId="2696"/>
        <pc:sldMkLst>
          <pc:docMk/>
          <pc:sldMk cId="2950065476" sldId="2147473831"/>
        </pc:sldMkLst>
      </pc:sldChg>
      <pc:sldChg chg="del">
        <pc:chgData name="Tường SKHĐT" userId="ab9568c39a88b08a" providerId="LiveId" clId="{BA072062-42DC-4C4B-B22E-317669E71C29}" dt="2023-06-20T01:49:47.903" v="66" actId="2696"/>
        <pc:sldMkLst>
          <pc:docMk/>
          <pc:sldMk cId="2241968007" sldId="2147473832"/>
        </pc:sldMkLst>
      </pc:sldChg>
      <pc:sldChg chg="del">
        <pc:chgData name="Tường SKHĐT" userId="ab9568c39a88b08a" providerId="LiveId" clId="{BA072062-42DC-4C4B-B22E-317669E71C29}" dt="2023-06-20T01:54:24.271" v="198" actId="2696"/>
        <pc:sldMkLst>
          <pc:docMk/>
          <pc:sldMk cId="238100601" sldId="2147473837"/>
        </pc:sldMkLst>
      </pc:sldChg>
      <pc:sldChg chg="delSp modSp mod">
        <pc:chgData name="Tường SKHĐT" userId="ab9568c39a88b08a" providerId="LiveId" clId="{BA072062-42DC-4C4B-B22E-317669E71C29}" dt="2023-06-20T01:50:39.782" v="142" actId="1076"/>
        <pc:sldMkLst>
          <pc:docMk/>
          <pc:sldMk cId="1957643202" sldId="2147473838"/>
        </pc:sldMkLst>
        <pc:spChg chg="mod">
          <ac:chgData name="Tường SKHĐT" userId="ab9568c39a88b08a" providerId="LiveId" clId="{BA072062-42DC-4C4B-B22E-317669E71C29}" dt="2023-06-20T01:49:15.067" v="60" actId="20577"/>
          <ac:spMkLst>
            <pc:docMk/>
            <pc:sldMk cId="1957643202" sldId="2147473838"/>
            <ac:spMk id="3" creationId="{41F7B89A-950B-BCEA-7B34-24C31F06EEAE}"/>
          </ac:spMkLst>
        </pc:spChg>
        <pc:spChg chg="mod">
          <ac:chgData name="Tường SKHĐT" userId="ab9568c39a88b08a" providerId="LiveId" clId="{BA072062-42DC-4C4B-B22E-317669E71C29}" dt="2023-06-20T01:50:34.558" v="140" actId="14100"/>
          <ac:spMkLst>
            <pc:docMk/>
            <pc:sldMk cId="1957643202" sldId="2147473838"/>
            <ac:spMk id="4" creationId="{F2F47907-BFA6-9C9C-7410-0773243570E0}"/>
          </ac:spMkLst>
        </pc:spChg>
        <pc:spChg chg="del">
          <ac:chgData name="Tường SKHĐT" userId="ab9568c39a88b08a" providerId="LiveId" clId="{BA072062-42DC-4C4B-B22E-317669E71C29}" dt="2023-06-20T01:50:36.859" v="141" actId="21"/>
          <ac:spMkLst>
            <pc:docMk/>
            <pc:sldMk cId="1957643202" sldId="2147473838"/>
            <ac:spMk id="5" creationId="{85B0C6AB-4906-5932-12D4-5FAF7DC72C97}"/>
          </ac:spMkLst>
        </pc:spChg>
        <pc:graphicFrameChg chg="mod">
          <ac:chgData name="Tường SKHĐT" userId="ab9568c39a88b08a" providerId="LiveId" clId="{BA072062-42DC-4C4B-B22E-317669E71C29}" dt="2023-06-20T01:50:39.782" v="142" actId="1076"/>
          <ac:graphicFrameMkLst>
            <pc:docMk/>
            <pc:sldMk cId="1957643202" sldId="2147473838"/>
            <ac:graphicFrameMk id="7" creationId="{65ED0CA7-264C-1318-BA20-73CF6FF0B39F}"/>
          </ac:graphicFrameMkLst>
        </pc:graphicFrameChg>
      </pc:sldChg>
      <pc:sldChg chg="addSp delSp modSp mod">
        <pc:chgData name="Tường SKHĐT" userId="ab9568c39a88b08a" providerId="LiveId" clId="{BA072062-42DC-4C4B-B22E-317669E71C29}" dt="2023-06-20T01:51:06.447" v="158" actId="20577"/>
        <pc:sldMkLst>
          <pc:docMk/>
          <pc:sldMk cId="3752301376" sldId="2147473839"/>
        </pc:sldMkLst>
        <pc:spChg chg="add mod">
          <ac:chgData name="Tường SKHĐT" userId="ab9568c39a88b08a" providerId="LiveId" clId="{BA072062-42DC-4C4B-B22E-317669E71C29}" dt="2023-06-20T01:51:06.447" v="158" actId="20577"/>
          <ac:spMkLst>
            <pc:docMk/>
            <pc:sldMk cId="3752301376" sldId="2147473839"/>
            <ac:spMk id="2" creationId="{12247637-6FF1-DA1B-ADA0-92BEB9DE1D80}"/>
          </ac:spMkLst>
        </pc:spChg>
        <pc:spChg chg="del">
          <ac:chgData name="Tường SKHĐT" userId="ab9568c39a88b08a" providerId="LiveId" clId="{BA072062-42DC-4C4B-B22E-317669E71C29}" dt="2023-06-20T01:50:53.830" v="143" actId="21"/>
          <ac:spMkLst>
            <pc:docMk/>
            <pc:sldMk cId="3752301376" sldId="2147473839"/>
            <ac:spMk id="5" creationId="{85B0C6AB-4906-5932-12D4-5FAF7DC72C97}"/>
          </ac:spMkLst>
        </pc:spChg>
      </pc:sldChg>
      <pc:sldChg chg="modSp mod">
        <pc:chgData name="Tường SKHĐT" userId="ab9568c39a88b08a" providerId="LiveId" clId="{BA072062-42DC-4C4B-B22E-317669E71C29}" dt="2023-06-20T01:53:49.770" v="190" actId="20577"/>
        <pc:sldMkLst>
          <pc:docMk/>
          <pc:sldMk cId="3864172541" sldId="2147473851"/>
        </pc:sldMkLst>
        <pc:spChg chg="mod">
          <ac:chgData name="Tường SKHĐT" userId="ab9568c39a88b08a" providerId="LiveId" clId="{BA072062-42DC-4C4B-B22E-317669E71C29}" dt="2023-06-20T01:53:49.770" v="190" actId="20577"/>
          <ac:spMkLst>
            <pc:docMk/>
            <pc:sldMk cId="3864172541" sldId="2147473851"/>
            <ac:spMk id="7" creationId="{C04F4D96-45AD-953D-5897-218BC956CD36}"/>
          </ac:spMkLst>
        </pc:spChg>
      </pc:sldChg>
      <pc:sldChg chg="modSp mod">
        <pc:chgData name="Tường SKHĐT" userId="ab9568c39a88b08a" providerId="LiveId" clId="{BA072062-42DC-4C4B-B22E-317669E71C29}" dt="2023-06-20T01:54:10.696" v="197" actId="20577"/>
        <pc:sldMkLst>
          <pc:docMk/>
          <pc:sldMk cId="595962106" sldId="2147473854"/>
        </pc:sldMkLst>
        <pc:spChg chg="mod">
          <ac:chgData name="Tường SKHĐT" userId="ab9568c39a88b08a" providerId="LiveId" clId="{BA072062-42DC-4C4B-B22E-317669E71C29}" dt="2023-06-20T01:54:10.696" v="197" actId="20577"/>
          <ac:spMkLst>
            <pc:docMk/>
            <pc:sldMk cId="595962106" sldId="2147473854"/>
            <ac:spMk id="27" creationId="{01DC26C3-E6F4-C27A-8624-3A65D81B6008}"/>
          </ac:spMkLst>
        </pc:spChg>
      </pc:sldChg>
      <pc:sldChg chg="del">
        <pc:chgData name="Tường SKHĐT" userId="ab9568c39a88b08a" providerId="LiveId" clId="{BA072062-42DC-4C4B-B22E-317669E71C29}" dt="2023-06-20T01:49:47.903" v="66" actId="2696"/>
        <pc:sldMkLst>
          <pc:docMk/>
          <pc:sldMk cId="1061291802" sldId="2147473855"/>
        </pc:sldMkLst>
      </pc:sldChg>
      <pc:sldChg chg="addSp delSp modSp mod">
        <pc:chgData name="Tường SKHĐT" userId="ab9568c39a88b08a" providerId="LiveId" clId="{BA072062-42DC-4C4B-B22E-317669E71C29}" dt="2023-06-20T01:51:23.042" v="165" actId="14100"/>
        <pc:sldMkLst>
          <pc:docMk/>
          <pc:sldMk cId="3676880401" sldId="2147473856"/>
        </pc:sldMkLst>
        <pc:spChg chg="add mod">
          <ac:chgData name="Tường SKHĐT" userId="ab9568c39a88b08a" providerId="LiveId" clId="{BA072062-42DC-4C4B-B22E-317669E71C29}" dt="2023-06-20T01:51:23.042" v="165" actId="14100"/>
          <ac:spMkLst>
            <pc:docMk/>
            <pc:sldMk cId="3676880401" sldId="2147473856"/>
            <ac:spMk id="3" creationId="{F99C3A99-3E83-02AA-4F66-9882F4B54011}"/>
          </ac:spMkLst>
        </pc:spChg>
        <pc:spChg chg="del">
          <ac:chgData name="Tường SKHĐT" userId="ab9568c39a88b08a" providerId="LiveId" clId="{BA072062-42DC-4C4B-B22E-317669E71C29}" dt="2023-06-20T01:51:12.204" v="159" actId="21"/>
          <ac:spMkLst>
            <pc:docMk/>
            <pc:sldMk cId="3676880401" sldId="2147473856"/>
            <ac:spMk id="5" creationId="{85B0C6AB-4906-5932-12D4-5FAF7DC72C97}"/>
          </ac:spMkLst>
        </pc:spChg>
      </pc:sldChg>
    </pc:docChg>
  </pc:docChgLst>
  <pc:docChgLst>
    <pc:chgData name="Tường SKHĐT" userId="ab9568c39a88b08a" providerId="LiveId" clId="{468EA6DF-2E41-4AB7-BC17-25D2820E2B52}"/>
    <pc:docChg chg="undo custSel addSld delSld modSld sldOrd">
      <pc:chgData name="Tường SKHĐT" userId="ab9568c39a88b08a" providerId="LiveId" clId="{468EA6DF-2E41-4AB7-BC17-25D2820E2B52}" dt="2023-04-03T11:15:45.149" v="299" actId="14100"/>
      <pc:docMkLst>
        <pc:docMk/>
      </pc:docMkLst>
      <pc:sldChg chg="modSp mod">
        <pc:chgData name="Tường SKHĐT" userId="ab9568c39a88b08a" providerId="LiveId" clId="{468EA6DF-2E41-4AB7-BC17-25D2820E2B52}" dt="2023-04-03T11:15:45.149" v="299" actId="14100"/>
        <pc:sldMkLst>
          <pc:docMk/>
          <pc:sldMk cId="1786243308" sldId="2147473545"/>
        </pc:sldMkLst>
        <pc:graphicFrameChg chg="mod modGraphic">
          <ac:chgData name="Tường SKHĐT" userId="ab9568c39a88b08a" providerId="LiveId" clId="{468EA6DF-2E41-4AB7-BC17-25D2820E2B52}" dt="2023-04-03T11:15:45.149" v="299" actId="14100"/>
          <ac:graphicFrameMkLst>
            <pc:docMk/>
            <pc:sldMk cId="1786243308" sldId="2147473545"/>
            <ac:graphicFrameMk id="8" creationId="{B5E5335D-2EED-82AF-3A59-FAE8BB94EAE1}"/>
          </ac:graphicFrameMkLst>
        </pc:graphicFrameChg>
      </pc:sldChg>
      <pc:sldChg chg="modSp mod">
        <pc:chgData name="Tường SKHĐT" userId="ab9568c39a88b08a" providerId="LiveId" clId="{468EA6DF-2E41-4AB7-BC17-25D2820E2B52}" dt="2023-04-03T11:00:38.028" v="287" actId="1076"/>
        <pc:sldMkLst>
          <pc:docMk/>
          <pc:sldMk cId="1163171153" sldId="2147473582"/>
        </pc:sldMkLst>
        <pc:spChg chg="mod">
          <ac:chgData name="Tường SKHĐT" userId="ab9568c39a88b08a" providerId="LiveId" clId="{468EA6DF-2E41-4AB7-BC17-25D2820E2B52}" dt="2023-04-03T11:00:38.028" v="287" actId="1076"/>
          <ac:spMkLst>
            <pc:docMk/>
            <pc:sldMk cId="1163171153" sldId="2147473582"/>
            <ac:spMk id="2" creationId="{A49FA47D-1679-133E-0301-5CFB76FC4F8D}"/>
          </ac:spMkLst>
        </pc:spChg>
        <pc:graphicFrameChg chg="mod">
          <ac:chgData name="Tường SKHĐT" userId="ab9568c39a88b08a" providerId="LiveId" clId="{468EA6DF-2E41-4AB7-BC17-25D2820E2B52}" dt="2023-04-03T11:00:24.420" v="280" actId="1076"/>
          <ac:graphicFrameMkLst>
            <pc:docMk/>
            <pc:sldMk cId="1163171153" sldId="2147473582"/>
            <ac:graphicFrameMk id="13" creationId="{BA133DC1-3B7F-1EF5-AC03-623DAED491B9}"/>
          </ac:graphicFrameMkLst>
        </pc:graphicFrameChg>
        <pc:picChg chg="mod">
          <ac:chgData name="Tường SKHĐT" userId="ab9568c39a88b08a" providerId="LiveId" clId="{468EA6DF-2E41-4AB7-BC17-25D2820E2B52}" dt="2023-04-03T11:00:29.174" v="283" actId="1076"/>
          <ac:picMkLst>
            <pc:docMk/>
            <pc:sldMk cId="1163171153" sldId="2147473582"/>
            <ac:picMk id="5" creationId="{36D40177-B5F5-4CD7-89E9-D49ADE361564}"/>
          </ac:picMkLst>
        </pc:picChg>
        <pc:picChg chg="mod">
          <ac:chgData name="Tường SKHĐT" userId="ab9568c39a88b08a" providerId="LiveId" clId="{468EA6DF-2E41-4AB7-BC17-25D2820E2B52}" dt="2023-04-03T11:00:36.144" v="286" actId="1076"/>
          <ac:picMkLst>
            <pc:docMk/>
            <pc:sldMk cId="1163171153" sldId="2147473582"/>
            <ac:picMk id="8" creationId="{83D3B8D5-360E-E1E0-FC28-3F5272FBAFB5}"/>
          </ac:picMkLst>
        </pc:picChg>
      </pc:sldChg>
      <pc:sldChg chg="addSp delSp mod">
        <pc:chgData name="Tường SKHĐT" userId="ab9568c39a88b08a" providerId="LiveId" clId="{468EA6DF-2E41-4AB7-BC17-25D2820E2B52}" dt="2023-04-03T10:31:34.878" v="65"/>
        <pc:sldMkLst>
          <pc:docMk/>
          <pc:sldMk cId="2981393660" sldId="2147473641"/>
        </pc:sldMkLst>
        <pc:graphicFrameChg chg="del">
          <ac:chgData name="Tường SKHĐT" userId="ab9568c39a88b08a" providerId="LiveId" clId="{468EA6DF-2E41-4AB7-BC17-25D2820E2B52}" dt="2023-04-03T10:29:21.269" v="59" actId="21"/>
          <ac:graphicFrameMkLst>
            <pc:docMk/>
            <pc:sldMk cId="2981393660" sldId="2147473641"/>
            <ac:graphicFrameMk id="2" creationId="{6B7B0C66-0A6E-B07E-2C02-8CE030F266C7}"/>
          </ac:graphicFrameMkLst>
        </pc:graphicFrameChg>
        <pc:graphicFrameChg chg="add del">
          <ac:chgData name="Tường SKHĐT" userId="ab9568c39a88b08a" providerId="LiveId" clId="{468EA6DF-2E41-4AB7-BC17-25D2820E2B52}" dt="2023-04-03T10:31:34.878" v="65"/>
          <ac:graphicFrameMkLst>
            <pc:docMk/>
            <pc:sldMk cId="2981393660" sldId="2147473641"/>
            <ac:graphicFrameMk id="3" creationId="{EB582734-3D1D-43AA-2177-24D77ED8C8F5}"/>
          </ac:graphicFrameMkLst>
        </pc:graphicFrameChg>
      </pc:sldChg>
      <pc:sldChg chg="delSp modSp mod ord">
        <pc:chgData name="Tường SKHĐT" userId="ab9568c39a88b08a" providerId="LiveId" clId="{468EA6DF-2E41-4AB7-BC17-25D2820E2B52}" dt="2023-04-03T10:13:11.170" v="49" actId="1076"/>
        <pc:sldMkLst>
          <pc:docMk/>
          <pc:sldMk cId="445558377" sldId="2147473666"/>
        </pc:sldMkLst>
        <pc:spChg chg="mod">
          <ac:chgData name="Tường SKHĐT" userId="ab9568c39a88b08a" providerId="LiveId" clId="{468EA6DF-2E41-4AB7-BC17-25D2820E2B52}" dt="2023-04-03T10:11:16.840" v="36" actId="1076"/>
          <ac:spMkLst>
            <pc:docMk/>
            <pc:sldMk cId="445558377" sldId="2147473666"/>
            <ac:spMk id="5" creationId="{C0C8210D-ACF3-B4D8-583B-6475338AFF81}"/>
          </ac:spMkLst>
        </pc:spChg>
        <pc:graphicFrameChg chg="del mod">
          <ac:chgData name="Tường SKHĐT" userId="ab9568c39a88b08a" providerId="LiveId" clId="{468EA6DF-2E41-4AB7-BC17-25D2820E2B52}" dt="2023-04-03T10:10:56.162" v="31" actId="21"/>
          <ac:graphicFrameMkLst>
            <pc:docMk/>
            <pc:sldMk cId="445558377" sldId="2147473666"/>
            <ac:graphicFrameMk id="4" creationId="{AD24F002-E2A8-9D8A-9D15-9BC5C931138E}"/>
          </ac:graphicFrameMkLst>
        </pc:graphicFrameChg>
        <pc:graphicFrameChg chg="del mod">
          <ac:chgData name="Tường SKHĐT" userId="ab9568c39a88b08a" providerId="LiveId" clId="{468EA6DF-2E41-4AB7-BC17-25D2820E2B52}" dt="2023-04-03T10:12:26.921" v="44" actId="21"/>
          <ac:graphicFrameMkLst>
            <pc:docMk/>
            <pc:sldMk cId="445558377" sldId="2147473666"/>
            <ac:graphicFrameMk id="6" creationId="{803684F6-1F84-4793-3D12-BF38A1B5C8EF}"/>
          </ac:graphicFrameMkLst>
        </pc:graphicFrameChg>
        <pc:graphicFrameChg chg="del mod">
          <ac:chgData name="Tường SKHĐT" userId="ab9568c39a88b08a" providerId="LiveId" clId="{468EA6DF-2E41-4AB7-BC17-25D2820E2B52}" dt="2023-04-03T10:06:05.443" v="25" actId="21"/>
          <ac:graphicFrameMkLst>
            <pc:docMk/>
            <pc:sldMk cId="445558377" sldId="2147473666"/>
            <ac:graphicFrameMk id="7" creationId="{00000000-0000-0000-0000-000000000000}"/>
          </ac:graphicFrameMkLst>
        </pc:graphicFrameChg>
        <pc:graphicFrameChg chg="mod">
          <ac:chgData name="Tường SKHĐT" userId="ab9568c39a88b08a" providerId="LiveId" clId="{468EA6DF-2E41-4AB7-BC17-25D2820E2B52}" dt="2023-04-03T10:13:11.170" v="49" actId="1076"/>
          <ac:graphicFrameMkLst>
            <pc:docMk/>
            <pc:sldMk cId="445558377" sldId="2147473666"/>
            <ac:graphicFrameMk id="8" creationId="{13AB1E53-A30A-87BC-F3CD-9ED7D90E3725}"/>
          </ac:graphicFrameMkLst>
        </pc:graphicFrameChg>
      </pc:sldChg>
      <pc:sldChg chg="delSp modSp mod">
        <pc:chgData name="Tường SKHĐT" userId="ab9568c39a88b08a" providerId="LiveId" clId="{468EA6DF-2E41-4AB7-BC17-25D2820E2B52}" dt="2023-04-03T10:13:34.220" v="51" actId="14100"/>
        <pc:sldMkLst>
          <pc:docMk/>
          <pc:sldMk cId="303836013" sldId="2147473667"/>
        </pc:sldMkLst>
        <pc:spChg chg="mod">
          <ac:chgData name="Tường SKHĐT" userId="ab9568c39a88b08a" providerId="LiveId" clId="{468EA6DF-2E41-4AB7-BC17-25D2820E2B52}" dt="2023-04-03T10:11:50.712" v="43" actId="1076"/>
          <ac:spMkLst>
            <pc:docMk/>
            <pc:sldMk cId="303836013" sldId="2147473667"/>
            <ac:spMk id="5" creationId="{C8E34A42-ACA3-CC53-52CA-7B9FB0477D40}"/>
          </ac:spMkLst>
        </pc:spChg>
        <pc:graphicFrameChg chg="del">
          <ac:chgData name="Tường SKHĐT" userId="ab9568c39a88b08a" providerId="LiveId" clId="{468EA6DF-2E41-4AB7-BC17-25D2820E2B52}" dt="2023-04-03T10:06:09.632" v="26" actId="21"/>
          <ac:graphicFrameMkLst>
            <pc:docMk/>
            <pc:sldMk cId="303836013" sldId="2147473667"/>
            <ac:graphicFrameMk id="3" creationId="{00000000-0000-0000-0000-000000000000}"/>
          </ac:graphicFrameMkLst>
        </pc:graphicFrameChg>
        <pc:graphicFrameChg chg="del mod">
          <ac:chgData name="Tường SKHĐT" userId="ab9568c39a88b08a" providerId="LiveId" clId="{468EA6DF-2E41-4AB7-BC17-25D2820E2B52}" dt="2023-04-03T10:12:29.755" v="45" actId="21"/>
          <ac:graphicFrameMkLst>
            <pc:docMk/>
            <pc:sldMk cId="303836013" sldId="2147473667"/>
            <ac:graphicFrameMk id="6" creationId="{915A1CDC-C75B-7968-89D0-F515191018CB}"/>
          </ac:graphicFrameMkLst>
        </pc:graphicFrameChg>
        <pc:graphicFrameChg chg="mod">
          <ac:chgData name="Tường SKHĐT" userId="ab9568c39a88b08a" providerId="LiveId" clId="{468EA6DF-2E41-4AB7-BC17-25D2820E2B52}" dt="2023-04-03T10:13:34.220" v="51" actId="14100"/>
          <ac:graphicFrameMkLst>
            <pc:docMk/>
            <pc:sldMk cId="303836013" sldId="2147473667"/>
            <ac:graphicFrameMk id="7" creationId="{4EA0615B-314E-96FF-3684-4E3698F2B169}"/>
          </ac:graphicFrameMkLst>
        </pc:graphicFrameChg>
      </pc:sldChg>
      <pc:sldChg chg="delSp modSp mod">
        <pc:chgData name="Tường SKHĐT" userId="ab9568c39a88b08a" providerId="LiveId" clId="{468EA6DF-2E41-4AB7-BC17-25D2820E2B52}" dt="2023-04-03T10:14:21.510" v="57" actId="14100"/>
        <pc:sldMkLst>
          <pc:docMk/>
          <pc:sldMk cId="1635743029" sldId="2147473668"/>
        </pc:sldMkLst>
        <pc:spChg chg="mod">
          <ac:chgData name="Tường SKHĐT" userId="ab9568c39a88b08a" providerId="LiveId" clId="{468EA6DF-2E41-4AB7-BC17-25D2820E2B52}" dt="2023-04-03T10:13:44.320" v="53" actId="1076"/>
          <ac:spMkLst>
            <pc:docMk/>
            <pc:sldMk cId="1635743029" sldId="2147473668"/>
            <ac:spMk id="5" creationId="{338B4CA8-CF1E-F27C-57B7-967F7AEFF660}"/>
          </ac:spMkLst>
        </pc:spChg>
        <pc:graphicFrameChg chg="del">
          <ac:chgData name="Tường SKHĐT" userId="ab9568c39a88b08a" providerId="LiveId" clId="{468EA6DF-2E41-4AB7-BC17-25D2820E2B52}" dt="2023-04-03T10:06:12.951" v="27" actId="21"/>
          <ac:graphicFrameMkLst>
            <pc:docMk/>
            <pc:sldMk cId="1635743029" sldId="2147473668"/>
            <ac:graphicFrameMk id="2" creationId="{00000000-0000-0000-0000-000000000000}"/>
          </ac:graphicFrameMkLst>
        </pc:graphicFrameChg>
        <pc:graphicFrameChg chg="mod">
          <ac:chgData name="Tường SKHĐT" userId="ab9568c39a88b08a" providerId="LiveId" clId="{468EA6DF-2E41-4AB7-BC17-25D2820E2B52}" dt="2023-04-03T10:14:21.510" v="57" actId="14100"/>
          <ac:graphicFrameMkLst>
            <pc:docMk/>
            <pc:sldMk cId="1635743029" sldId="2147473668"/>
            <ac:graphicFrameMk id="6" creationId="{C210AB38-1853-ACF6-3F24-D74F231775C9}"/>
          </ac:graphicFrameMkLst>
        </pc:graphicFrameChg>
      </pc:sldChg>
      <pc:sldChg chg="addSp modSp mod">
        <pc:chgData name="Tường SKHĐT" userId="ab9568c39a88b08a" providerId="LiveId" clId="{468EA6DF-2E41-4AB7-BC17-25D2820E2B52}" dt="2023-04-03T10:56:26.164" v="279" actId="20577"/>
        <pc:sldMkLst>
          <pc:docMk/>
          <pc:sldMk cId="2676458148" sldId="2147473686"/>
        </pc:sldMkLst>
        <pc:spChg chg="add mod">
          <ac:chgData name="Tường SKHĐT" userId="ab9568c39a88b08a" providerId="LiveId" clId="{468EA6DF-2E41-4AB7-BC17-25D2820E2B52}" dt="2023-04-03T10:56:26.164" v="279" actId="20577"/>
          <ac:spMkLst>
            <pc:docMk/>
            <pc:sldMk cId="2676458148" sldId="2147473686"/>
            <ac:spMk id="3" creationId="{71A1B9FE-DFCB-A29B-0AD9-F9676FA9DC8D}"/>
          </ac:spMkLst>
        </pc:spChg>
        <pc:graphicFrameChg chg="mod">
          <ac:chgData name="Tường SKHĐT" userId="ab9568c39a88b08a" providerId="LiveId" clId="{468EA6DF-2E41-4AB7-BC17-25D2820E2B52}" dt="2023-04-03T09:39:44.975" v="9" actId="1076"/>
          <ac:graphicFrameMkLst>
            <pc:docMk/>
            <pc:sldMk cId="2676458148" sldId="2147473686"/>
            <ac:graphicFrameMk id="2" creationId="{7B70EAB1-08A9-24DB-D444-B254D15A656F}"/>
          </ac:graphicFrameMkLst>
        </pc:graphicFrameChg>
        <pc:graphicFrameChg chg="mod modGraphic">
          <ac:chgData name="Tường SKHĐT" userId="ab9568c39a88b08a" providerId="LiveId" clId="{468EA6DF-2E41-4AB7-BC17-25D2820E2B52}" dt="2023-04-03T09:39:34.090" v="5" actId="1076"/>
          <ac:graphicFrameMkLst>
            <pc:docMk/>
            <pc:sldMk cId="2676458148" sldId="2147473686"/>
            <ac:graphicFrameMk id="8" creationId="{B5E5335D-2EED-82AF-3A59-FAE8BB94EAE1}"/>
          </ac:graphicFrameMkLst>
        </pc:graphicFrameChg>
        <pc:picChg chg="mod">
          <ac:chgData name="Tường SKHĐT" userId="ab9568c39a88b08a" providerId="LiveId" clId="{468EA6DF-2E41-4AB7-BC17-25D2820E2B52}" dt="2023-04-03T09:39:37.401" v="7" actId="14100"/>
          <ac:picMkLst>
            <pc:docMk/>
            <pc:sldMk cId="2676458148" sldId="2147473686"/>
            <ac:picMk id="5" creationId="{1D012F1F-2D3E-DB73-FB3D-9CF264845674}"/>
          </ac:picMkLst>
        </pc:picChg>
      </pc:sldChg>
      <pc:sldChg chg="modSp mod">
        <pc:chgData name="Tường SKHĐT" userId="ab9568c39a88b08a" providerId="LiveId" clId="{468EA6DF-2E41-4AB7-BC17-25D2820E2B52}" dt="2023-04-03T10:38:01.052" v="161" actId="20577"/>
        <pc:sldMkLst>
          <pc:docMk/>
          <pc:sldMk cId="2211563581" sldId="2147473695"/>
        </pc:sldMkLst>
        <pc:spChg chg="mod">
          <ac:chgData name="Tường SKHĐT" userId="ab9568c39a88b08a" providerId="LiveId" clId="{468EA6DF-2E41-4AB7-BC17-25D2820E2B52}" dt="2023-04-03T10:37:06.952" v="72" actId="20577"/>
          <ac:spMkLst>
            <pc:docMk/>
            <pc:sldMk cId="2211563581" sldId="2147473695"/>
            <ac:spMk id="3" creationId="{A0D5D58A-756E-802D-A09E-1BEA6D184E77}"/>
          </ac:spMkLst>
        </pc:spChg>
        <pc:spChg chg="mod">
          <ac:chgData name="Tường SKHĐT" userId="ab9568c39a88b08a" providerId="LiveId" clId="{468EA6DF-2E41-4AB7-BC17-25D2820E2B52}" dt="2023-04-03T10:37:19.656" v="135" actId="20577"/>
          <ac:spMkLst>
            <pc:docMk/>
            <pc:sldMk cId="2211563581" sldId="2147473695"/>
            <ac:spMk id="719" creationId="{00000000-0000-0000-0000-000000000000}"/>
          </ac:spMkLst>
        </pc:spChg>
        <pc:spChg chg="mod">
          <ac:chgData name="Tường SKHĐT" userId="ab9568c39a88b08a" providerId="LiveId" clId="{468EA6DF-2E41-4AB7-BC17-25D2820E2B52}" dt="2023-04-03T10:37:44.123" v="149" actId="20577"/>
          <ac:spMkLst>
            <pc:docMk/>
            <pc:sldMk cId="2211563581" sldId="2147473695"/>
            <ac:spMk id="720" creationId="{00000000-0000-0000-0000-000000000000}"/>
          </ac:spMkLst>
        </pc:spChg>
        <pc:spChg chg="mod">
          <ac:chgData name="Tường SKHĐT" userId="ab9568c39a88b08a" providerId="LiveId" clId="{468EA6DF-2E41-4AB7-BC17-25D2820E2B52}" dt="2023-04-03T10:38:01.052" v="161" actId="20577"/>
          <ac:spMkLst>
            <pc:docMk/>
            <pc:sldMk cId="2211563581" sldId="2147473695"/>
            <ac:spMk id="726" creationId="{00000000-0000-0000-0000-000000000000}"/>
          </ac:spMkLst>
        </pc:spChg>
      </pc:sldChg>
      <pc:sldChg chg="modSp mod">
        <pc:chgData name="Tường SKHĐT" userId="ab9568c39a88b08a" providerId="LiveId" clId="{468EA6DF-2E41-4AB7-BC17-25D2820E2B52}" dt="2023-04-03T10:32:04.225" v="67" actId="2084"/>
        <pc:sldMkLst>
          <pc:docMk/>
          <pc:sldMk cId="2166843381" sldId="2147473703"/>
        </pc:sldMkLst>
        <pc:graphicFrameChg chg="modGraphic">
          <ac:chgData name="Tường SKHĐT" userId="ab9568c39a88b08a" providerId="LiveId" clId="{468EA6DF-2E41-4AB7-BC17-25D2820E2B52}" dt="2023-04-03T10:32:04.225" v="67" actId="2084"/>
          <ac:graphicFrameMkLst>
            <pc:docMk/>
            <pc:sldMk cId="2166843381" sldId="2147473703"/>
            <ac:graphicFrameMk id="2" creationId="{00000000-0000-0000-0000-000000000000}"/>
          </ac:graphicFrameMkLst>
        </pc:graphicFrameChg>
      </pc:sldChg>
      <pc:sldChg chg="del">
        <pc:chgData name="Tường SKHĐT" userId="ab9568c39a88b08a" providerId="LiveId" clId="{468EA6DF-2E41-4AB7-BC17-25D2820E2B52}" dt="2023-04-03T10:39:13.364" v="163" actId="2696"/>
        <pc:sldMkLst>
          <pc:docMk/>
          <pc:sldMk cId="3902886966" sldId="2147473716"/>
        </pc:sldMkLst>
      </pc:sldChg>
      <pc:sldChg chg="del">
        <pc:chgData name="Tường SKHĐT" userId="ab9568c39a88b08a" providerId="LiveId" clId="{468EA6DF-2E41-4AB7-BC17-25D2820E2B52}" dt="2023-04-03T10:39:15.411" v="164" actId="2696"/>
        <pc:sldMkLst>
          <pc:docMk/>
          <pc:sldMk cId="786884168" sldId="2147473717"/>
        </pc:sldMkLst>
      </pc:sldChg>
      <pc:sldChg chg="addSp modSp mod">
        <pc:chgData name="Tường SKHĐT" userId="ab9568c39a88b08a" providerId="LiveId" clId="{468EA6DF-2E41-4AB7-BC17-25D2820E2B52}" dt="2023-04-03T10:32:35.589" v="70" actId="1076"/>
        <pc:sldMkLst>
          <pc:docMk/>
          <pc:sldMk cId="2943774504" sldId="2147473722"/>
        </pc:sldMkLst>
        <pc:spChg chg="add mod">
          <ac:chgData name="Tường SKHĐT" userId="ab9568c39a88b08a" providerId="LiveId" clId="{468EA6DF-2E41-4AB7-BC17-25D2820E2B52}" dt="2023-04-03T10:32:35.589" v="70" actId="1076"/>
          <ac:spMkLst>
            <pc:docMk/>
            <pc:sldMk cId="2943774504" sldId="2147473722"/>
            <ac:spMk id="2" creationId="{9A34755F-0630-CF92-2EDF-08D86E7905CA}"/>
          </ac:spMkLst>
        </pc:spChg>
        <pc:graphicFrameChg chg="mod">
          <ac:chgData name="Tường SKHĐT" userId="ab9568c39a88b08a" providerId="LiveId" clId="{468EA6DF-2E41-4AB7-BC17-25D2820E2B52}" dt="2023-04-03T10:32:33.125" v="69" actId="1076"/>
          <ac:graphicFrameMkLst>
            <pc:docMk/>
            <pc:sldMk cId="2943774504" sldId="2147473722"/>
            <ac:graphicFrameMk id="10" creationId="{4DA33CA2-D53A-5909-6F0A-1CAF1ED730EB}"/>
          </ac:graphicFrameMkLst>
        </pc:graphicFrameChg>
      </pc:sldChg>
      <pc:sldChg chg="add">
        <pc:chgData name="Tường SKHĐT" userId="ab9568c39a88b08a" providerId="LiveId" clId="{468EA6DF-2E41-4AB7-BC17-25D2820E2B52}" dt="2023-04-03T10:39:10.202" v="162"/>
        <pc:sldMkLst>
          <pc:docMk/>
          <pc:sldMk cId="1052792772" sldId="2147473723"/>
        </pc:sldMkLst>
      </pc:sldChg>
      <pc:sldChg chg="add del">
        <pc:chgData name="Tường SKHĐT" userId="ab9568c39a88b08a" providerId="LiveId" clId="{468EA6DF-2E41-4AB7-BC17-25D2820E2B52}" dt="2023-04-03T10:21:15.357" v="58" actId="2696"/>
        <pc:sldMkLst>
          <pc:docMk/>
          <pc:sldMk cId="3877960572" sldId="2147473723"/>
        </pc:sldMkLst>
      </pc:sldChg>
      <pc:sldChg chg="add del replId">
        <pc:chgData name="Tường SKHĐT" userId="ab9568c39a88b08a" providerId="LiveId" clId="{468EA6DF-2E41-4AB7-BC17-25D2820E2B52}" dt="2023-04-03T10:21:15.357" v="58" actId="2696"/>
        <pc:sldMkLst>
          <pc:docMk/>
          <pc:sldMk cId="1675512132" sldId="2147473724"/>
        </pc:sldMkLst>
      </pc:sldChg>
      <pc:sldChg chg="add">
        <pc:chgData name="Tường SKHĐT" userId="ab9568c39a88b08a" providerId="LiveId" clId="{468EA6DF-2E41-4AB7-BC17-25D2820E2B52}" dt="2023-04-03T10:39:10.202" v="162"/>
        <pc:sldMkLst>
          <pc:docMk/>
          <pc:sldMk cId="3515261572" sldId="2147473724"/>
        </pc:sldMkLst>
      </pc:sldChg>
      <pc:sldChg chg="add del replId">
        <pc:chgData name="Tường SKHĐT" userId="ab9568c39a88b08a" providerId="LiveId" clId="{468EA6DF-2E41-4AB7-BC17-25D2820E2B52}" dt="2023-04-03T10:21:15.357" v="58" actId="2696"/>
        <pc:sldMkLst>
          <pc:docMk/>
          <pc:sldMk cId="3735205963" sldId="2147473725"/>
        </pc:sldMkLst>
      </pc:sldChg>
    </pc:docChg>
  </pc:docChgLst>
  <pc:docChgLst>
    <pc:chgData name="Tường SKHĐT" userId="ab9568c39a88b08a" providerId="LiveId" clId="{9423F85F-43A8-44B4-800E-9A4D16CE1CA4}"/>
    <pc:docChg chg="undo custSel addSld delSld modSld">
      <pc:chgData name="Tường SKHĐT" userId="ab9568c39a88b08a" providerId="LiveId" clId="{9423F85F-43A8-44B4-800E-9A4D16CE1CA4}" dt="2023-07-26T03:28:47.381" v="9298" actId="207"/>
      <pc:docMkLst>
        <pc:docMk/>
      </pc:docMkLst>
      <pc:sldChg chg="addSp delSp modSp add del mod">
        <pc:chgData name="Tường SKHĐT" userId="ab9568c39a88b08a" providerId="LiveId" clId="{9423F85F-43A8-44B4-800E-9A4D16CE1CA4}" dt="2023-07-26T01:38:41.520" v="6568" actId="2696"/>
        <pc:sldMkLst>
          <pc:docMk/>
          <pc:sldMk cId="998374063" sldId="288"/>
        </pc:sldMkLst>
        <pc:spChg chg="add del mod">
          <ac:chgData name="Tường SKHĐT" userId="ab9568c39a88b08a" providerId="LiveId" clId="{9423F85F-43A8-44B4-800E-9A4D16CE1CA4}" dt="2023-07-26T01:28:18.092" v="5959" actId="21"/>
          <ac:spMkLst>
            <pc:docMk/>
            <pc:sldMk cId="998374063" sldId="288"/>
            <ac:spMk id="3" creationId="{ACFE3FD0-DC9D-9C3E-DFD0-2B79CC106EF9}"/>
          </ac:spMkLst>
        </pc:spChg>
        <pc:spChg chg="add mod">
          <ac:chgData name="Tường SKHĐT" userId="ab9568c39a88b08a" providerId="LiveId" clId="{9423F85F-43A8-44B4-800E-9A4D16CE1CA4}" dt="2023-07-26T01:32:26.246" v="6445" actId="20577"/>
          <ac:spMkLst>
            <pc:docMk/>
            <pc:sldMk cId="998374063" sldId="288"/>
            <ac:spMk id="4" creationId="{E70B24DB-76A2-A030-68C8-60D08089FBEA}"/>
          </ac:spMkLst>
        </pc:spChg>
        <pc:spChg chg="del">
          <ac:chgData name="Tường SKHĐT" userId="ab9568c39a88b08a" providerId="LiveId" clId="{9423F85F-43A8-44B4-800E-9A4D16CE1CA4}" dt="2023-07-26T01:28:11.038" v="5958" actId="21"/>
          <ac:spMkLst>
            <pc:docMk/>
            <pc:sldMk cId="998374063" sldId="288"/>
            <ac:spMk id="58370" creationId="{00000000-0000-0000-0000-000000000000}"/>
          </ac:spMkLst>
        </pc:spChg>
        <pc:graphicFrameChg chg="mod modGraphic">
          <ac:chgData name="Tường SKHĐT" userId="ab9568c39a88b08a" providerId="LiveId" clId="{9423F85F-43A8-44B4-800E-9A4D16CE1CA4}" dt="2023-07-26T01:35:28.695" v="6558" actId="1076"/>
          <ac:graphicFrameMkLst>
            <pc:docMk/>
            <pc:sldMk cId="998374063" sldId="288"/>
            <ac:graphicFrameMk id="6" creationId="{00000000-0000-0000-0000-000000000000}"/>
          </ac:graphicFrameMkLst>
        </pc:graphicFrameChg>
      </pc:sldChg>
      <pc:sldChg chg="del">
        <pc:chgData name="Tường SKHĐT" userId="ab9568c39a88b08a" providerId="LiveId" clId="{9423F85F-43A8-44B4-800E-9A4D16CE1CA4}" dt="2023-07-24T08:21:00.202" v="1049" actId="2696"/>
        <pc:sldMkLst>
          <pc:docMk/>
          <pc:sldMk cId="1167827339" sldId="312"/>
        </pc:sldMkLst>
      </pc:sldChg>
      <pc:sldChg chg="delSp modSp mod">
        <pc:chgData name="Tường SKHĐT" userId="ab9568c39a88b08a" providerId="LiveId" clId="{9423F85F-43A8-44B4-800E-9A4D16CE1CA4}" dt="2023-07-26T03:09:14.322" v="9196" actId="1035"/>
        <pc:sldMkLst>
          <pc:docMk/>
          <pc:sldMk cId="2319489907" sldId="541"/>
        </pc:sldMkLst>
        <pc:spChg chg="del">
          <ac:chgData name="Tường SKHĐT" userId="ab9568c39a88b08a" providerId="LiveId" clId="{9423F85F-43A8-44B4-800E-9A4D16CE1CA4}" dt="2023-07-24T08:24:06.423" v="1135" actId="21"/>
          <ac:spMkLst>
            <pc:docMk/>
            <pc:sldMk cId="2319489907" sldId="541"/>
            <ac:spMk id="2" creationId="{E44EE9E0-4EA3-0404-EFB1-8C6F74BFB274}"/>
          </ac:spMkLst>
        </pc:spChg>
        <pc:spChg chg="mod">
          <ac:chgData name="Tường SKHĐT" userId="ab9568c39a88b08a" providerId="LiveId" clId="{9423F85F-43A8-44B4-800E-9A4D16CE1CA4}" dt="2023-07-26T03:09:14.322" v="9196" actId="1035"/>
          <ac:spMkLst>
            <pc:docMk/>
            <pc:sldMk cId="2319489907" sldId="541"/>
            <ac:spMk id="3" creationId="{22B2B715-653C-5238-09BE-B01B91D4BD2D}"/>
          </ac:spMkLst>
        </pc:spChg>
      </pc:sldChg>
      <pc:sldChg chg="addSp delSp modSp add del mod">
        <pc:chgData name="Tường SKHĐT" userId="ab9568c39a88b08a" providerId="LiveId" clId="{9423F85F-43A8-44B4-800E-9A4D16CE1CA4}" dt="2023-07-26T01:29:18.994" v="6016" actId="2696"/>
        <pc:sldMkLst>
          <pc:docMk/>
          <pc:sldMk cId="2016091477" sldId="608"/>
        </pc:sldMkLst>
        <pc:spChg chg="mod">
          <ac:chgData name="Tường SKHĐT" userId="ab9568c39a88b08a" providerId="LiveId" clId="{9423F85F-43A8-44B4-800E-9A4D16CE1CA4}" dt="2023-07-26T01:17:20.739" v="5597" actId="6549"/>
          <ac:spMkLst>
            <pc:docMk/>
            <pc:sldMk cId="2016091477" sldId="608"/>
            <ac:spMk id="2" creationId="{B1B170EA-ACEE-98CB-EB09-143E5BB6A3C8}"/>
          </ac:spMkLst>
        </pc:spChg>
        <pc:spChg chg="add del">
          <ac:chgData name="Tường SKHĐT" userId="ab9568c39a88b08a" providerId="LiveId" clId="{9423F85F-43A8-44B4-800E-9A4D16CE1CA4}" dt="2023-07-26T01:23:39.087" v="5716" actId="21"/>
          <ac:spMkLst>
            <pc:docMk/>
            <pc:sldMk cId="2016091477" sldId="608"/>
            <ac:spMk id="4" creationId="{5D73B3F3-8A10-219D-1DBF-B429E066F3ED}"/>
          </ac:spMkLst>
        </pc:spChg>
        <pc:spChg chg="add del mod">
          <ac:chgData name="Tường SKHĐT" userId="ab9568c39a88b08a" providerId="LiveId" clId="{9423F85F-43A8-44B4-800E-9A4D16CE1CA4}" dt="2023-07-26T01:18:12.784" v="5603" actId="21"/>
          <ac:spMkLst>
            <pc:docMk/>
            <pc:sldMk cId="2016091477" sldId="608"/>
            <ac:spMk id="4" creationId="{E3E9578A-F2E7-4990-7519-EA4B100C5972}"/>
          </ac:spMkLst>
        </pc:spChg>
        <pc:spChg chg="add del mod">
          <ac:chgData name="Tường SKHĐT" userId="ab9568c39a88b08a" providerId="LiveId" clId="{9423F85F-43A8-44B4-800E-9A4D16CE1CA4}" dt="2023-07-26T01:27:39.887" v="5952" actId="21"/>
          <ac:spMkLst>
            <pc:docMk/>
            <pc:sldMk cId="2016091477" sldId="608"/>
            <ac:spMk id="5" creationId="{DE8F6765-3AA2-6A6B-2512-F345F20A2D9F}"/>
          </ac:spMkLst>
        </pc:spChg>
        <pc:graphicFrameChg chg="del mod">
          <ac:chgData name="Tường SKHĐT" userId="ab9568c39a88b08a" providerId="LiveId" clId="{9423F85F-43A8-44B4-800E-9A4D16CE1CA4}" dt="2023-07-26T01:18:09.955" v="5602" actId="21"/>
          <ac:graphicFrameMkLst>
            <pc:docMk/>
            <pc:sldMk cId="2016091477" sldId="608"/>
            <ac:graphicFrameMk id="6" creationId="{00000000-0000-0000-0000-000000000000}"/>
          </ac:graphicFrameMkLst>
        </pc:graphicFrameChg>
      </pc:sldChg>
      <pc:sldChg chg="addSp delSp modSp add mod">
        <pc:chgData name="Tường SKHĐT" userId="ab9568c39a88b08a" providerId="LiveId" clId="{9423F85F-43A8-44B4-800E-9A4D16CE1CA4}" dt="2023-07-26T01:46:55.729" v="6787"/>
        <pc:sldMkLst>
          <pc:docMk/>
          <pc:sldMk cId="3133831680" sldId="2147473476"/>
        </pc:sldMkLst>
        <pc:spChg chg="add mod">
          <ac:chgData name="Tường SKHĐT" userId="ab9568c39a88b08a" providerId="LiveId" clId="{9423F85F-43A8-44B4-800E-9A4D16CE1CA4}" dt="2023-07-26T01:46:55.729" v="6787"/>
          <ac:spMkLst>
            <pc:docMk/>
            <pc:sldMk cId="3133831680" sldId="2147473476"/>
            <ac:spMk id="3" creationId="{A56DF41F-358C-7E5B-B295-5B611C2AF0FC}"/>
          </ac:spMkLst>
        </pc:spChg>
        <pc:spChg chg="del">
          <ac:chgData name="Tường SKHĐT" userId="ab9568c39a88b08a" providerId="LiveId" clId="{9423F85F-43A8-44B4-800E-9A4D16CE1CA4}" dt="2023-07-24T04:15:22.341" v="510" actId="21"/>
          <ac:spMkLst>
            <pc:docMk/>
            <pc:sldMk cId="3133831680" sldId="2147473476"/>
            <ac:spMk id="4" creationId="{14FBA888-DF33-C797-CD9E-CC136B6C737C}"/>
          </ac:spMkLst>
        </pc:spChg>
        <pc:graphicFrameChg chg="mod">
          <ac:chgData name="Tường SKHĐT" userId="ab9568c39a88b08a" providerId="LiveId" clId="{9423F85F-43A8-44B4-800E-9A4D16CE1CA4}" dt="2023-07-24T04:25:03.856" v="1034" actId="20577"/>
          <ac:graphicFrameMkLst>
            <pc:docMk/>
            <pc:sldMk cId="3133831680" sldId="2147473476"/>
            <ac:graphicFrameMk id="2" creationId="{A091C242-D65F-E0C5-16D6-B15756DA14A6}"/>
          </ac:graphicFrameMkLst>
        </pc:graphicFrameChg>
      </pc:sldChg>
      <pc:sldChg chg="del">
        <pc:chgData name="Tường SKHĐT" userId="ab9568c39a88b08a" providerId="LiveId" clId="{9423F85F-43A8-44B4-800E-9A4D16CE1CA4}" dt="2023-07-24T01:59:26.139" v="1" actId="2696"/>
        <pc:sldMkLst>
          <pc:docMk/>
          <pc:sldMk cId="98016993" sldId="2147473493"/>
        </pc:sldMkLst>
      </pc:sldChg>
      <pc:sldChg chg="addSp delSp modSp add mod">
        <pc:chgData name="Tường SKHĐT" userId="ab9568c39a88b08a" providerId="LiveId" clId="{9423F85F-43A8-44B4-800E-9A4D16CE1CA4}" dt="2023-07-26T01:46:03.491" v="6727" actId="20577"/>
        <pc:sldMkLst>
          <pc:docMk/>
          <pc:sldMk cId="4089019163" sldId="2147473497"/>
        </pc:sldMkLst>
        <pc:spChg chg="add mod">
          <ac:chgData name="Tường SKHĐT" userId="ab9568c39a88b08a" providerId="LiveId" clId="{9423F85F-43A8-44B4-800E-9A4D16CE1CA4}" dt="2023-07-26T01:46:03.491" v="6727" actId="20577"/>
          <ac:spMkLst>
            <pc:docMk/>
            <pc:sldMk cId="4089019163" sldId="2147473497"/>
            <ac:spMk id="2" creationId="{266CE5CE-EBC6-2C57-6754-81674A7AE5E7}"/>
          </ac:spMkLst>
        </pc:spChg>
        <pc:spChg chg="mod">
          <ac:chgData name="Tường SKHĐT" userId="ab9568c39a88b08a" providerId="LiveId" clId="{9423F85F-43A8-44B4-800E-9A4D16CE1CA4}" dt="2023-07-26T01:44:09.520" v="6647" actId="14100"/>
          <ac:spMkLst>
            <pc:docMk/>
            <pc:sldMk cId="4089019163" sldId="2147473497"/>
            <ac:spMk id="3" creationId="{D56CE58D-FB5F-1D10-4BAF-E7B0E8BB9294}"/>
          </ac:spMkLst>
        </pc:spChg>
        <pc:spChg chg="del mod">
          <ac:chgData name="Tường SKHĐT" userId="ab9568c39a88b08a" providerId="LiveId" clId="{9423F85F-43A8-44B4-800E-9A4D16CE1CA4}" dt="2023-07-24T09:40:33.048" v="3089" actId="21"/>
          <ac:spMkLst>
            <pc:docMk/>
            <pc:sldMk cId="4089019163" sldId="2147473497"/>
            <ac:spMk id="4" creationId="{00000000-0000-0000-0000-000000000000}"/>
          </ac:spMkLst>
        </pc:spChg>
      </pc:sldChg>
      <pc:sldChg chg="del">
        <pc:chgData name="Tường SKHĐT" userId="ab9568c39a88b08a" providerId="LiveId" clId="{9423F85F-43A8-44B4-800E-9A4D16CE1CA4}" dt="2023-07-24T02:00:58.157" v="3" actId="2696"/>
        <pc:sldMkLst>
          <pc:docMk/>
          <pc:sldMk cId="664381054" sldId="2147473536"/>
        </pc:sldMkLst>
      </pc:sldChg>
      <pc:sldChg chg="del">
        <pc:chgData name="Tường SKHĐT" userId="ab9568c39a88b08a" providerId="LiveId" clId="{9423F85F-43A8-44B4-800E-9A4D16CE1CA4}" dt="2023-07-24T02:00:58.157" v="3" actId="2696"/>
        <pc:sldMkLst>
          <pc:docMk/>
          <pc:sldMk cId="1168642509" sldId="2147473537"/>
        </pc:sldMkLst>
      </pc:sldChg>
      <pc:sldChg chg="del">
        <pc:chgData name="Tường SKHĐT" userId="ab9568c39a88b08a" providerId="LiveId" clId="{9423F85F-43A8-44B4-800E-9A4D16CE1CA4}" dt="2023-07-24T02:00:58.157" v="3" actId="2696"/>
        <pc:sldMkLst>
          <pc:docMk/>
          <pc:sldMk cId="2553187395" sldId="2147473539"/>
        </pc:sldMkLst>
      </pc:sldChg>
      <pc:sldChg chg="del">
        <pc:chgData name="Tường SKHĐT" userId="ab9568c39a88b08a" providerId="LiveId" clId="{9423F85F-43A8-44B4-800E-9A4D16CE1CA4}" dt="2023-07-24T02:00:58.157" v="3" actId="2696"/>
        <pc:sldMkLst>
          <pc:docMk/>
          <pc:sldMk cId="2759319111" sldId="2147473541"/>
        </pc:sldMkLst>
      </pc:sldChg>
      <pc:sldChg chg="addSp delSp modSp mod">
        <pc:chgData name="Tường SKHĐT" userId="ab9568c39a88b08a" providerId="LiveId" clId="{9423F85F-43A8-44B4-800E-9A4D16CE1CA4}" dt="2023-07-25T09:49:14.502" v="5095" actId="20577"/>
        <pc:sldMkLst>
          <pc:docMk/>
          <pc:sldMk cId="1786243308" sldId="2147473545"/>
        </pc:sldMkLst>
        <pc:graphicFrameChg chg="mod">
          <ac:chgData name="Tường SKHĐT" userId="ab9568c39a88b08a" providerId="LiveId" clId="{9423F85F-43A8-44B4-800E-9A4D16CE1CA4}" dt="2023-07-25T09:48:07.198" v="5071" actId="1076"/>
          <ac:graphicFrameMkLst>
            <pc:docMk/>
            <pc:sldMk cId="1786243308" sldId="2147473545"/>
            <ac:graphicFrameMk id="5" creationId="{E68FB69B-8EEF-CB8A-1342-5C049A3B6DBF}"/>
          </ac:graphicFrameMkLst>
        </pc:graphicFrameChg>
        <pc:graphicFrameChg chg="mod modGraphic">
          <ac:chgData name="Tường SKHĐT" userId="ab9568c39a88b08a" providerId="LiveId" clId="{9423F85F-43A8-44B4-800E-9A4D16CE1CA4}" dt="2023-07-25T09:49:14.502" v="5095" actId="20577"/>
          <ac:graphicFrameMkLst>
            <pc:docMk/>
            <pc:sldMk cId="1786243308" sldId="2147473545"/>
            <ac:graphicFrameMk id="8" creationId="{B5E5335D-2EED-82AF-3A59-FAE8BB94EAE1}"/>
          </ac:graphicFrameMkLst>
        </pc:graphicFrameChg>
        <pc:picChg chg="add del mod">
          <ac:chgData name="Tường SKHĐT" userId="ab9568c39a88b08a" providerId="LiveId" clId="{9423F85F-43A8-44B4-800E-9A4D16CE1CA4}" dt="2023-07-25T09:47:09.456" v="4878" actId="21"/>
          <ac:picMkLst>
            <pc:docMk/>
            <pc:sldMk cId="1786243308" sldId="2147473545"/>
            <ac:picMk id="3" creationId="{E595E324-419C-6E9E-160E-FCD1F1FBE278}"/>
          </ac:picMkLst>
        </pc:picChg>
        <pc:picChg chg="add del mod">
          <ac:chgData name="Tường SKHĐT" userId="ab9568c39a88b08a" providerId="LiveId" clId="{9423F85F-43A8-44B4-800E-9A4D16CE1CA4}" dt="2023-07-25T09:47:11.863" v="4879" actId="21"/>
          <ac:picMkLst>
            <pc:docMk/>
            <pc:sldMk cId="1786243308" sldId="2147473545"/>
            <ac:picMk id="4" creationId="{9502E200-C2B3-6B5C-A0EC-6193547D1030}"/>
          </ac:picMkLst>
        </pc:picChg>
      </pc:sldChg>
      <pc:sldChg chg="del">
        <pc:chgData name="Tường SKHĐT" userId="ab9568c39a88b08a" providerId="LiveId" clId="{9423F85F-43A8-44B4-800E-9A4D16CE1CA4}" dt="2023-07-24T02:00:58.157" v="3" actId="2696"/>
        <pc:sldMkLst>
          <pc:docMk/>
          <pc:sldMk cId="2835104792" sldId="2147473580"/>
        </pc:sldMkLst>
      </pc:sldChg>
      <pc:sldChg chg="del">
        <pc:chgData name="Tường SKHĐT" userId="ab9568c39a88b08a" providerId="LiveId" clId="{9423F85F-43A8-44B4-800E-9A4D16CE1CA4}" dt="2023-07-24T02:00:58.157" v="3" actId="2696"/>
        <pc:sldMkLst>
          <pc:docMk/>
          <pc:sldMk cId="2155607679" sldId="2147473581"/>
        </pc:sldMkLst>
      </pc:sldChg>
      <pc:sldChg chg="del">
        <pc:chgData name="Tường SKHĐT" userId="ab9568c39a88b08a" providerId="LiveId" clId="{9423F85F-43A8-44B4-800E-9A4D16CE1CA4}" dt="2023-07-24T02:00:58.157" v="3" actId="2696"/>
        <pc:sldMkLst>
          <pc:docMk/>
          <pc:sldMk cId="1163171153" sldId="2147473582"/>
        </pc:sldMkLst>
      </pc:sldChg>
      <pc:sldChg chg="del">
        <pc:chgData name="Tường SKHĐT" userId="ab9568c39a88b08a" providerId="LiveId" clId="{9423F85F-43A8-44B4-800E-9A4D16CE1CA4}" dt="2023-07-24T02:00:58.157" v="3" actId="2696"/>
        <pc:sldMkLst>
          <pc:docMk/>
          <pc:sldMk cId="740355695" sldId="2147473583"/>
        </pc:sldMkLst>
      </pc:sldChg>
      <pc:sldChg chg="del">
        <pc:chgData name="Tường SKHĐT" userId="ab9568c39a88b08a" providerId="LiveId" clId="{9423F85F-43A8-44B4-800E-9A4D16CE1CA4}" dt="2023-07-24T02:00:58.157" v="3" actId="2696"/>
        <pc:sldMkLst>
          <pc:docMk/>
          <pc:sldMk cId="2171956986" sldId="2147473620"/>
        </pc:sldMkLst>
      </pc:sldChg>
      <pc:sldChg chg="add del">
        <pc:chgData name="Tường SKHĐT" userId="ab9568c39a88b08a" providerId="LiveId" clId="{9423F85F-43A8-44B4-800E-9A4D16CE1CA4}" dt="2023-07-26T01:19:58.644" v="5714" actId="2696"/>
        <pc:sldMkLst>
          <pc:docMk/>
          <pc:sldMk cId="1387142198" sldId="2147473622"/>
        </pc:sldMkLst>
      </pc:sldChg>
      <pc:sldChg chg="del">
        <pc:chgData name="Tường SKHĐT" userId="ab9568c39a88b08a" providerId="LiveId" clId="{9423F85F-43A8-44B4-800E-9A4D16CE1CA4}" dt="2023-07-24T08:20:18.993" v="1048" actId="2696"/>
        <pc:sldMkLst>
          <pc:docMk/>
          <pc:sldMk cId="635207881" sldId="2147473670"/>
        </pc:sldMkLst>
      </pc:sldChg>
      <pc:sldChg chg="modSp mod">
        <pc:chgData name="Tường SKHĐT" userId="ab9568c39a88b08a" providerId="LiveId" clId="{9423F85F-43A8-44B4-800E-9A4D16CE1CA4}" dt="2023-07-26T03:28:47.381" v="9298" actId="207"/>
        <pc:sldMkLst>
          <pc:docMk/>
          <pc:sldMk cId="293803616" sldId="2147473681"/>
        </pc:sldMkLst>
        <pc:graphicFrameChg chg="mod modGraphic">
          <ac:chgData name="Tường SKHĐT" userId="ab9568c39a88b08a" providerId="LiveId" clId="{9423F85F-43A8-44B4-800E-9A4D16CE1CA4}" dt="2023-07-26T03:28:47.381" v="9298" actId="207"/>
          <ac:graphicFrameMkLst>
            <pc:docMk/>
            <pc:sldMk cId="293803616" sldId="2147473681"/>
            <ac:graphicFrameMk id="8" creationId="{B5E5335D-2EED-82AF-3A59-FAE8BB94EAE1}"/>
          </ac:graphicFrameMkLst>
        </pc:graphicFrameChg>
      </pc:sldChg>
      <pc:sldChg chg="del">
        <pc:chgData name="Tường SKHĐT" userId="ab9568c39a88b08a" providerId="LiveId" clId="{9423F85F-43A8-44B4-800E-9A4D16CE1CA4}" dt="2023-07-24T02:00:58.157" v="3" actId="2696"/>
        <pc:sldMkLst>
          <pc:docMk/>
          <pc:sldMk cId="3956457276" sldId="2147473683"/>
        </pc:sldMkLst>
      </pc:sldChg>
      <pc:sldChg chg="del">
        <pc:chgData name="Tường SKHĐT" userId="ab9568c39a88b08a" providerId="LiveId" clId="{9423F85F-43A8-44B4-800E-9A4D16CE1CA4}" dt="2023-07-24T02:00:58.157" v="3" actId="2696"/>
        <pc:sldMkLst>
          <pc:docMk/>
          <pc:sldMk cId="1384294736" sldId="2147473707"/>
        </pc:sldMkLst>
      </pc:sldChg>
      <pc:sldChg chg="del">
        <pc:chgData name="Tường SKHĐT" userId="ab9568c39a88b08a" providerId="LiveId" clId="{9423F85F-43A8-44B4-800E-9A4D16CE1CA4}" dt="2023-07-24T02:00:58.157" v="3" actId="2696"/>
        <pc:sldMkLst>
          <pc:docMk/>
          <pc:sldMk cId="3055150034" sldId="2147473708"/>
        </pc:sldMkLst>
      </pc:sldChg>
      <pc:sldChg chg="modSp mod">
        <pc:chgData name="Tường SKHĐT" userId="ab9568c39a88b08a" providerId="LiveId" clId="{9423F85F-43A8-44B4-800E-9A4D16CE1CA4}" dt="2023-07-25T08:37:25.034" v="4875" actId="20577"/>
        <pc:sldMkLst>
          <pc:docMk/>
          <pc:sldMk cId="603705395" sldId="2147473711"/>
        </pc:sldMkLst>
        <pc:graphicFrameChg chg="mod modGraphic">
          <ac:chgData name="Tường SKHĐT" userId="ab9568c39a88b08a" providerId="LiveId" clId="{9423F85F-43A8-44B4-800E-9A4D16CE1CA4}" dt="2023-07-25T08:37:25.034" v="4875" actId="20577"/>
          <ac:graphicFrameMkLst>
            <pc:docMk/>
            <pc:sldMk cId="603705395" sldId="2147473711"/>
            <ac:graphicFrameMk id="10" creationId="{83C0D92A-467E-3F41-0043-586F35EFB2C8}"/>
          </ac:graphicFrameMkLst>
        </pc:graphicFrameChg>
      </pc:sldChg>
      <pc:sldChg chg="del">
        <pc:chgData name="Tường SKHĐT" userId="ab9568c39a88b08a" providerId="LiveId" clId="{9423F85F-43A8-44B4-800E-9A4D16CE1CA4}" dt="2023-07-24T02:00:58.157" v="3" actId="2696"/>
        <pc:sldMkLst>
          <pc:docMk/>
          <pc:sldMk cId="912302037" sldId="2147473721"/>
        </pc:sldMkLst>
      </pc:sldChg>
      <pc:sldChg chg="addSp delSp modSp mod">
        <pc:chgData name="Tường SKHĐT" userId="ab9568c39a88b08a" providerId="LiveId" clId="{9423F85F-43A8-44B4-800E-9A4D16CE1CA4}" dt="2023-07-24T08:52:37.094" v="1903" actId="1076"/>
        <pc:sldMkLst>
          <pc:docMk/>
          <pc:sldMk cId="909716554" sldId="2147473727"/>
        </pc:sldMkLst>
        <pc:spChg chg="mod">
          <ac:chgData name="Tường SKHĐT" userId="ab9568c39a88b08a" providerId="LiveId" clId="{9423F85F-43A8-44B4-800E-9A4D16CE1CA4}" dt="2023-07-24T03:55:45.228" v="61" actId="20577"/>
          <ac:spMkLst>
            <pc:docMk/>
            <pc:sldMk cId="909716554" sldId="2147473727"/>
            <ac:spMk id="11" creationId="{01DC26C3-E6F4-C27A-8624-3A65D81B6008}"/>
          </ac:spMkLst>
        </pc:spChg>
        <pc:graphicFrameChg chg="add mod modGraphic">
          <ac:chgData name="Tường SKHĐT" userId="ab9568c39a88b08a" providerId="LiveId" clId="{9423F85F-43A8-44B4-800E-9A4D16CE1CA4}" dt="2023-07-24T08:52:32.043" v="1901" actId="14100"/>
          <ac:graphicFrameMkLst>
            <pc:docMk/>
            <pc:sldMk cId="909716554" sldId="2147473727"/>
            <ac:graphicFrameMk id="3" creationId="{68E57579-8234-B234-7D03-AF2FDB8AA19A}"/>
          </ac:graphicFrameMkLst>
        </pc:graphicFrameChg>
        <pc:graphicFrameChg chg="del mod modGraphic">
          <ac:chgData name="Tường SKHĐT" userId="ab9568c39a88b08a" providerId="LiveId" clId="{9423F85F-43A8-44B4-800E-9A4D16CE1CA4}" dt="2023-07-24T03:58:06.702" v="150" actId="21"/>
          <ac:graphicFrameMkLst>
            <pc:docMk/>
            <pc:sldMk cId="909716554" sldId="2147473727"/>
            <ac:graphicFrameMk id="5" creationId="{B5E5335D-2EED-82AF-3A59-FAE8BB94EAE1}"/>
          </ac:graphicFrameMkLst>
        </pc:graphicFrameChg>
        <pc:picChg chg="add mod">
          <ac:chgData name="Tường SKHĐT" userId="ab9568c39a88b08a" providerId="LiveId" clId="{9423F85F-43A8-44B4-800E-9A4D16CE1CA4}" dt="2023-07-24T08:52:37.094" v="1903" actId="1076"/>
          <ac:picMkLst>
            <pc:docMk/>
            <pc:sldMk cId="909716554" sldId="2147473727"/>
            <ac:picMk id="5" creationId="{181F54A4-4E93-E842-848C-B419691AB33D}"/>
          </ac:picMkLst>
        </pc:picChg>
      </pc:sldChg>
      <pc:sldChg chg="del">
        <pc:chgData name="Tường SKHĐT" userId="ab9568c39a88b08a" providerId="LiveId" clId="{9423F85F-43A8-44B4-800E-9A4D16CE1CA4}" dt="2023-07-24T04:01:21.395" v="225" actId="2696"/>
        <pc:sldMkLst>
          <pc:docMk/>
          <pc:sldMk cId="964652449" sldId="2147473728"/>
        </pc:sldMkLst>
      </pc:sldChg>
      <pc:sldChg chg="addSp modSp mod">
        <pc:chgData name="Tường SKHĐT" userId="ab9568c39a88b08a" providerId="LiveId" clId="{9423F85F-43A8-44B4-800E-9A4D16CE1CA4}" dt="2023-07-25T03:48:13.431" v="4249" actId="20577"/>
        <pc:sldMkLst>
          <pc:docMk/>
          <pc:sldMk cId="505796185" sldId="2147473729"/>
        </pc:sldMkLst>
        <pc:spChg chg="add mod">
          <ac:chgData name="Tường SKHĐT" userId="ab9568c39a88b08a" providerId="LiveId" clId="{9423F85F-43A8-44B4-800E-9A4D16CE1CA4}" dt="2023-07-24T02:02:03.909" v="7" actId="1076"/>
          <ac:spMkLst>
            <pc:docMk/>
            <pc:sldMk cId="505796185" sldId="2147473729"/>
            <ac:spMk id="2" creationId="{DD26251E-81C7-06F1-7885-14E83BF37741}"/>
          </ac:spMkLst>
        </pc:spChg>
        <pc:spChg chg="mod">
          <ac:chgData name="Tường SKHĐT" userId="ab9568c39a88b08a" providerId="LiveId" clId="{9423F85F-43A8-44B4-800E-9A4D16CE1CA4}" dt="2023-07-24T02:02:12.904" v="10" actId="1076"/>
          <ac:spMkLst>
            <pc:docMk/>
            <pc:sldMk cId="505796185" sldId="2147473729"/>
            <ac:spMk id="4" creationId="{1FA84E38-1AE4-2FD2-269D-531A1D51424D}"/>
          </ac:spMkLst>
        </pc:spChg>
        <pc:spChg chg="mod">
          <ac:chgData name="Tường SKHĐT" userId="ab9568c39a88b08a" providerId="LiveId" clId="{9423F85F-43A8-44B4-800E-9A4D16CE1CA4}" dt="2023-07-24T02:02:06.948" v="8" actId="1076"/>
          <ac:spMkLst>
            <pc:docMk/>
            <pc:sldMk cId="505796185" sldId="2147473729"/>
            <ac:spMk id="6" creationId="{AD8FCB44-5401-4810-551D-B0072A6956BA}"/>
          </ac:spMkLst>
        </pc:spChg>
        <pc:spChg chg="mod">
          <ac:chgData name="Tường SKHĐT" userId="ab9568c39a88b08a" providerId="LiveId" clId="{9423F85F-43A8-44B4-800E-9A4D16CE1CA4}" dt="2023-07-24T02:02:16.069" v="12" actId="1076"/>
          <ac:spMkLst>
            <pc:docMk/>
            <pc:sldMk cId="505796185" sldId="2147473729"/>
            <ac:spMk id="8" creationId="{E4620DA0-DCF6-700E-9776-6805AE4114E9}"/>
          </ac:spMkLst>
        </pc:spChg>
        <pc:spChg chg="mod">
          <ac:chgData name="Tường SKHĐT" userId="ab9568c39a88b08a" providerId="LiveId" clId="{9423F85F-43A8-44B4-800E-9A4D16CE1CA4}" dt="2023-07-24T03:55:20.180" v="44" actId="20577"/>
          <ac:spMkLst>
            <pc:docMk/>
            <pc:sldMk cId="505796185" sldId="2147473729"/>
            <ac:spMk id="9" creationId="{CE322719-97A4-00CC-C0B6-CACE800FAA68}"/>
          </ac:spMkLst>
        </pc:spChg>
        <pc:graphicFrameChg chg="mod modGraphic">
          <ac:chgData name="Tường SKHĐT" userId="ab9568c39a88b08a" providerId="LiveId" clId="{9423F85F-43A8-44B4-800E-9A4D16CE1CA4}" dt="2023-07-25T03:48:13.431" v="4249" actId="20577"/>
          <ac:graphicFrameMkLst>
            <pc:docMk/>
            <pc:sldMk cId="505796185" sldId="2147473729"/>
            <ac:graphicFrameMk id="3" creationId="{19F8C869-87A6-0F98-C7BC-7F547BC514A6}"/>
          </ac:graphicFrameMkLst>
        </pc:graphicFrameChg>
      </pc:sldChg>
      <pc:sldChg chg="delSp modSp mod">
        <pc:chgData name="Tường SKHĐT" userId="ab9568c39a88b08a" providerId="LiveId" clId="{9423F85F-43A8-44B4-800E-9A4D16CE1CA4}" dt="2023-07-25T08:33:57.500" v="4786" actId="1076"/>
        <pc:sldMkLst>
          <pc:docMk/>
          <pc:sldMk cId="2569991023" sldId="2147473733"/>
        </pc:sldMkLst>
        <pc:spChg chg="del">
          <ac:chgData name="Tường SKHĐT" userId="ab9568c39a88b08a" providerId="LiveId" clId="{9423F85F-43A8-44B4-800E-9A4D16CE1CA4}" dt="2023-07-24T08:21:33.350" v="1056" actId="21"/>
          <ac:spMkLst>
            <pc:docMk/>
            <pc:sldMk cId="2569991023" sldId="2147473733"/>
            <ac:spMk id="2" creationId="{F8EF66F9-1D66-D782-0E4F-5E38DD126185}"/>
          </ac:spMkLst>
        </pc:spChg>
        <pc:spChg chg="mod">
          <ac:chgData name="Tường SKHĐT" userId="ab9568c39a88b08a" providerId="LiveId" clId="{9423F85F-43A8-44B4-800E-9A4D16CE1CA4}" dt="2023-07-24T08:21:23.471" v="1055" actId="20577"/>
          <ac:spMkLst>
            <pc:docMk/>
            <pc:sldMk cId="2569991023" sldId="2147473733"/>
            <ac:spMk id="7" creationId="{6CE3C172-6B73-81D2-B734-810C1C811D2E}"/>
          </ac:spMkLst>
        </pc:spChg>
        <pc:graphicFrameChg chg="mod modGraphic">
          <ac:chgData name="Tường SKHĐT" userId="ab9568c39a88b08a" providerId="LiveId" clId="{9423F85F-43A8-44B4-800E-9A4D16CE1CA4}" dt="2023-07-25T08:33:57.500" v="4786" actId="1076"/>
          <ac:graphicFrameMkLst>
            <pc:docMk/>
            <pc:sldMk cId="2569991023" sldId="2147473733"/>
            <ac:graphicFrameMk id="8" creationId="{B5E5335D-2EED-82AF-3A59-FAE8BB94EAE1}"/>
          </ac:graphicFrameMkLst>
        </pc:graphicFrameChg>
      </pc:sldChg>
      <pc:sldChg chg="modSp mod">
        <pc:chgData name="Tường SKHĐT" userId="ab9568c39a88b08a" providerId="LiveId" clId="{9423F85F-43A8-44B4-800E-9A4D16CE1CA4}" dt="2023-07-24T09:22:36.343" v="2530" actId="20577"/>
        <pc:sldMkLst>
          <pc:docMk/>
          <pc:sldMk cId="1379701318" sldId="2147473734"/>
        </pc:sldMkLst>
        <pc:graphicFrameChg chg="mod modGraphic">
          <ac:chgData name="Tường SKHĐT" userId="ab9568c39a88b08a" providerId="LiveId" clId="{9423F85F-43A8-44B4-800E-9A4D16CE1CA4}" dt="2023-07-24T09:22:36.343" v="2530" actId="20577"/>
          <ac:graphicFrameMkLst>
            <pc:docMk/>
            <pc:sldMk cId="1379701318" sldId="2147473734"/>
            <ac:graphicFrameMk id="9" creationId="{0FC7DBA8-03B5-1D5D-B7A1-68AA6F62DF7E}"/>
          </ac:graphicFrameMkLst>
        </pc:graphicFrameChg>
      </pc:sldChg>
      <pc:sldChg chg="addSp delSp modSp mod">
        <pc:chgData name="Tường SKHĐT" userId="ab9568c39a88b08a" providerId="LiveId" clId="{9423F85F-43A8-44B4-800E-9A4D16CE1CA4}" dt="2023-07-26T00:36:47.597" v="5422" actId="20577"/>
        <pc:sldMkLst>
          <pc:docMk/>
          <pc:sldMk cId="1775073472" sldId="2147473736"/>
        </pc:sldMkLst>
        <pc:spChg chg="add mod">
          <ac:chgData name="Tường SKHĐT" userId="ab9568c39a88b08a" providerId="LiveId" clId="{9423F85F-43A8-44B4-800E-9A4D16CE1CA4}" dt="2023-07-25T08:14:54.569" v="4438" actId="20577"/>
          <ac:spMkLst>
            <pc:docMk/>
            <pc:sldMk cId="1775073472" sldId="2147473736"/>
            <ac:spMk id="5" creationId="{CC44C446-F658-3365-894D-66F64D909683}"/>
          </ac:spMkLst>
        </pc:spChg>
        <pc:spChg chg="mod">
          <ac:chgData name="Tường SKHĐT" userId="ab9568c39a88b08a" providerId="LiveId" clId="{9423F85F-43A8-44B4-800E-9A4D16CE1CA4}" dt="2023-07-25T08:14:44.585" v="4435"/>
          <ac:spMkLst>
            <pc:docMk/>
            <pc:sldMk cId="1775073472" sldId="2147473736"/>
            <ac:spMk id="8" creationId="{A37893A0-1BCA-E87B-A155-987EDA136E59}"/>
          </ac:spMkLst>
        </pc:spChg>
        <pc:spChg chg="mod">
          <ac:chgData name="Tường SKHĐT" userId="ab9568c39a88b08a" providerId="LiveId" clId="{9423F85F-43A8-44B4-800E-9A4D16CE1CA4}" dt="2023-07-25T08:20:13.615" v="4588" actId="20577"/>
          <ac:spMkLst>
            <pc:docMk/>
            <pc:sldMk cId="1775073472" sldId="2147473736"/>
            <ac:spMk id="10" creationId="{227DB097-3FB2-40D7-0925-0326025EB481}"/>
          </ac:spMkLst>
        </pc:spChg>
        <pc:spChg chg="mod">
          <ac:chgData name="Tường SKHĐT" userId="ab9568c39a88b08a" providerId="LiveId" clId="{9423F85F-43A8-44B4-800E-9A4D16CE1CA4}" dt="2023-07-25T08:14:44.585" v="4435"/>
          <ac:spMkLst>
            <pc:docMk/>
            <pc:sldMk cId="1775073472" sldId="2147473736"/>
            <ac:spMk id="11" creationId="{F5E464F6-4BBD-BB5A-3294-06D505792198}"/>
          </ac:spMkLst>
        </pc:spChg>
        <pc:spChg chg="mod">
          <ac:chgData name="Tường SKHĐT" userId="ab9568c39a88b08a" providerId="LiveId" clId="{9423F85F-43A8-44B4-800E-9A4D16CE1CA4}" dt="2023-07-25T08:14:44.585" v="4435"/>
          <ac:spMkLst>
            <pc:docMk/>
            <pc:sldMk cId="1775073472" sldId="2147473736"/>
            <ac:spMk id="13" creationId="{9EB8BA1B-838B-73B4-0866-7AE7EF15BCA5}"/>
          </ac:spMkLst>
        </pc:spChg>
        <pc:spChg chg="mod">
          <ac:chgData name="Tường SKHĐT" userId="ab9568c39a88b08a" providerId="LiveId" clId="{9423F85F-43A8-44B4-800E-9A4D16CE1CA4}" dt="2023-07-25T08:20:23.484" v="4592" actId="20577"/>
          <ac:spMkLst>
            <pc:docMk/>
            <pc:sldMk cId="1775073472" sldId="2147473736"/>
            <ac:spMk id="14" creationId="{23F91A73-69FB-468C-7902-79C6386C5767}"/>
          </ac:spMkLst>
        </pc:spChg>
        <pc:spChg chg="mod">
          <ac:chgData name="Tường SKHĐT" userId="ab9568c39a88b08a" providerId="LiveId" clId="{9423F85F-43A8-44B4-800E-9A4D16CE1CA4}" dt="2023-07-25T08:14:44.585" v="4435"/>
          <ac:spMkLst>
            <pc:docMk/>
            <pc:sldMk cId="1775073472" sldId="2147473736"/>
            <ac:spMk id="16" creationId="{FAA34A13-CEAD-4CA9-9D32-3CD99A21BE53}"/>
          </ac:spMkLst>
        </pc:spChg>
        <pc:spChg chg="mod">
          <ac:chgData name="Tường SKHĐT" userId="ab9568c39a88b08a" providerId="LiveId" clId="{9423F85F-43A8-44B4-800E-9A4D16CE1CA4}" dt="2023-07-25T08:14:44.585" v="4435"/>
          <ac:spMkLst>
            <pc:docMk/>
            <pc:sldMk cId="1775073472" sldId="2147473736"/>
            <ac:spMk id="17" creationId="{C179E8AD-D1FB-2DF6-9EBD-12AE17AA82B2}"/>
          </ac:spMkLst>
        </pc:spChg>
        <pc:spChg chg="mod">
          <ac:chgData name="Tường SKHĐT" userId="ab9568c39a88b08a" providerId="LiveId" clId="{9423F85F-43A8-44B4-800E-9A4D16CE1CA4}" dt="2023-07-25T08:20:28.396" v="4596" actId="20577"/>
          <ac:spMkLst>
            <pc:docMk/>
            <pc:sldMk cId="1775073472" sldId="2147473736"/>
            <ac:spMk id="18" creationId="{A9B23CA5-E8F1-3037-DA7C-5378EE54AB29}"/>
          </ac:spMkLst>
        </pc:spChg>
        <pc:spChg chg="mod">
          <ac:chgData name="Tường SKHĐT" userId="ab9568c39a88b08a" providerId="LiveId" clId="{9423F85F-43A8-44B4-800E-9A4D16CE1CA4}" dt="2023-07-25T08:14:44.585" v="4435"/>
          <ac:spMkLst>
            <pc:docMk/>
            <pc:sldMk cId="1775073472" sldId="2147473736"/>
            <ac:spMk id="21" creationId="{9987160C-BD1D-F0EE-81CF-CCD311D08BC3}"/>
          </ac:spMkLst>
        </pc:spChg>
        <pc:spChg chg="mod">
          <ac:chgData name="Tường SKHĐT" userId="ab9568c39a88b08a" providerId="LiveId" clId="{9423F85F-43A8-44B4-800E-9A4D16CE1CA4}" dt="2023-07-25T08:20:18.112" v="4590" actId="20577"/>
          <ac:spMkLst>
            <pc:docMk/>
            <pc:sldMk cId="1775073472" sldId="2147473736"/>
            <ac:spMk id="22" creationId="{F15E75EA-D26B-7DF9-0998-35B96AE81810}"/>
          </ac:spMkLst>
        </pc:spChg>
        <pc:spChg chg="mod">
          <ac:chgData name="Tường SKHĐT" userId="ab9568c39a88b08a" providerId="LiveId" clId="{9423F85F-43A8-44B4-800E-9A4D16CE1CA4}" dt="2023-07-25T08:14:44.585" v="4435"/>
          <ac:spMkLst>
            <pc:docMk/>
            <pc:sldMk cId="1775073472" sldId="2147473736"/>
            <ac:spMk id="23" creationId="{EC55689E-EE92-9948-874F-99F91CF85A12}"/>
          </ac:spMkLst>
        </pc:spChg>
        <pc:spChg chg="add del mod">
          <ac:chgData name="Tường SKHĐT" userId="ab9568c39a88b08a" providerId="LiveId" clId="{9423F85F-43A8-44B4-800E-9A4D16CE1CA4}" dt="2023-07-25T08:20:51.114" v="4597" actId="21"/>
          <ac:spMkLst>
            <pc:docMk/>
            <pc:sldMk cId="1775073472" sldId="2147473736"/>
            <ac:spMk id="25" creationId="{C182AC18-90C4-8D42-166A-0E29068CE18B}"/>
          </ac:spMkLst>
        </pc:spChg>
        <pc:spChg chg="add mod">
          <ac:chgData name="Tường SKHĐT" userId="ab9568c39a88b08a" providerId="LiveId" clId="{9423F85F-43A8-44B4-800E-9A4D16CE1CA4}" dt="2023-07-25T08:21:05.600" v="4599" actId="1076"/>
          <ac:spMkLst>
            <pc:docMk/>
            <pc:sldMk cId="1775073472" sldId="2147473736"/>
            <ac:spMk id="26" creationId="{BFDA0A18-2556-65A1-122D-26BD71CBB224}"/>
          </ac:spMkLst>
        </pc:spChg>
        <pc:grpChg chg="add mod">
          <ac:chgData name="Tường SKHĐT" userId="ab9568c39a88b08a" providerId="LiveId" clId="{9423F85F-43A8-44B4-800E-9A4D16CE1CA4}" dt="2023-07-25T08:14:44.585" v="4435"/>
          <ac:grpSpMkLst>
            <pc:docMk/>
            <pc:sldMk cId="1775073472" sldId="2147473736"/>
            <ac:grpSpMk id="7" creationId="{650A13D4-0663-EDDE-EE07-E5009EE0AC6B}"/>
          </ac:grpSpMkLst>
        </pc:grpChg>
        <pc:grpChg chg="add mod">
          <ac:chgData name="Tường SKHĐT" userId="ab9568c39a88b08a" providerId="LiveId" clId="{9423F85F-43A8-44B4-800E-9A4D16CE1CA4}" dt="2023-07-25T08:14:44.585" v="4435"/>
          <ac:grpSpMkLst>
            <pc:docMk/>
            <pc:sldMk cId="1775073472" sldId="2147473736"/>
            <ac:grpSpMk id="12" creationId="{451C56E1-F977-E747-6BCA-1313DC8E69DB}"/>
          </ac:grpSpMkLst>
        </pc:grpChg>
        <pc:grpChg chg="add mod">
          <ac:chgData name="Tường SKHĐT" userId="ab9568c39a88b08a" providerId="LiveId" clId="{9423F85F-43A8-44B4-800E-9A4D16CE1CA4}" dt="2023-07-25T08:18:41.948" v="4586" actId="14100"/>
          <ac:grpSpMkLst>
            <pc:docMk/>
            <pc:sldMk cId="1775073472" sldId="2147473736"/>
            <ac:grpSpMk id="15" creationId="{3E59758D-0B32-E4AB-BC59-7A4C89C7BFF4}"/>
          </ac:grpSpMkLst>
        </pc:grpChg>
        <pc:grpChg chg="add mod">
          <ac:chgData name="Tường SKHĐT" userId="ab9568c39a88b08a" providerId="LiveId" clId="{9423F85F-43A8-44B4-800E-9A4D16CE1CA4}" dt="2023-07-25T08:14:44.585" v="4435"/>
          <ac:grpSpMkLst>
            <pc:docMk/>
            <pc:sldMk cId="1775073472" sldId="2147473736"/>
            <ac:grpSpMk id="20" creationId="{FBBDC10C-79A1-ED2E-25B5-0A32CE3CF307}"/>
          </ac:grpSpMkLst>
        </pc:grpChg>
        <pc:graphicFrameChg chg="del">
          <ac:chgData name="Tường SKHĐT" userId="ab9568c39a88b08a" providerId="LiveId" clId="{9423F85F-43A8-44B4-800E-9A4D16CE1CA4}" dt="2023-07-24T09:25:53.346" v="2536" actId="21"/>
          <ac:graphicFrameMkLst>
            <pc:docMk/>
            <pc:sldMk cId="1775073472" sldId="2147473736"/>
            <ac:graphicFrameMk id="5" creationId="{4F59E573-56EE-83D4-0602-CC0366BF17C8}"/>
          </ac:graphicFrameMkLst>
        </pc:graphicFrameChg>
        <pc:graphicFrameChg chg="mod modGraphic">
          <ac:chgData name="Tường SKHĐT" userId="ab9568c39a88b08a" providerId="LiveId" clId="{9423F85F-43A8-44B4-800E-9A4D16CE1CA4}" dt="2023-07-26T00:36:47.597" v="5422" actId="20577"/>
          <ac:graphicFrameMkLst>
            <pc:docMk/>
            <pc:sldMk cId="1775073472" sldId="2147473736"/>
            <ac:graphicFrameMk id="6" creationId="{47027231-95EF-C8CE-4215-B126B807487B}"/>
          </ac:graphicFrameMkLst>
        </pc:graphicFrameChg>
        <pc:picChg chg="add mod">
          <ac:chgData name="Tường SKHĐT" userId="ab9568c39a88b08a" providerId="LiveId" clId="{9423F85F-43A8-44B4-800E-9A4D16CE1CA4}" dt="2023-07-25T08:18:27.054" v="4582" actId="1076"/>
          <ac:picMkLst>
            <pc:docMk/>
            <pc:sldMk cId="1775073472" sldId="2147473736"/>
            <ac:picMk id="2" creationId="{F79F8B07-02C6-AE8E-E88C-91B6272FAAD1}"/>
          </ac:picMkLst>
        </pc:picChg>
        <pc:picChg chg="add mod">
          <ac:chgData name="Tường SKHĐT" userId="ab9568c39a88b08a" providerId="LiveId" clId="{9423F85F-43A8-44B4-800E-9A4D16CE1CA4}" dt="2023-07-25T08:14:44.585" v="4435"/>
          <ac:picMkLst>
            <pc:docMk/>
            <pc:sldMk cId="1775073472" sldId="2147473736"/>
            <ac:picMk id="3" creationId="{E14DC8B9-0C33-E61C-74C4-DF153A54C8E2}"/>
          </ac:picMkLst>
        </pc:picChg>
        <pc:picChg chg="add mod">
          <ac:chgData name="Tường SKHĐT" userId="ab9568c39a88b08a" providerId="LiveId" clId="{9423F85F-43A8-44B4-800E-9A4D16CE1CA4}" dt="2023-07-25T08:18:16.590" v="4579" actId="1076"/>
          <ac:picMkLst>
            <pc:docMk/>
            <pc:sldMk cId="1775073472" sldId="2147473736"/>
            <ac:picMk id="4" creationId="{24FDFE24-E1EA-4BCA-E4FC-D27F98620D03}"/>
          </ac:picMkLst>
        </pc:picChg>
        <pc:picChg chg="add mod">
          <ac:chgData name="Tường SKHĐT" userId="ab9568c39a88b08a" providerId="LiveId" clId="{9423F85F-43A8-44B4-800E-9A4D16CE1CA4}" dt="2023-07-25T08:14:44.585" v="4435"/>
          <ac:picMkLst>
            <pc:docMk/>
            <pc:sldMk cId="1775073472" sldId="2147473736"/>
            <ac:picMk id="19" creationId="{60A79E5F-F430-FEAB-7A1B-00BAB71E1022}"/>
          </ac:picMkLst>
        </pc:picChg>
        <pc:picChg chg="add mod">
          <ac:chgData name="Tường SKHĐT" userId="ab9568c39a88b08a" providerId="LiveId" clId="{9423F85F-43A8-44B4-800E-9A4D16CE1CA4}" dt="2023-07-25T08:18:28.602" v="4583" actId="1076"/>
          <ac:picMkLst>
            <pc:docMk/>
            <pc:sldMk cId="1775073472" sldId="2147473736"/>
            <ac:picMk id="24" creationId="{E26011C3-4AC8-18A6-249B-8E2800F442FD}"/>
          </ac:picMkLst>
        </pc:picChg>
      </pc:sldChg>
      <pc:sldChg chg="addSp delSp modSp mod">
        <pc:chgData name="Tường SKHĐT" userId="ab9568c39a88b08a" providerId="LiveId" clId="{9423F85F-43A8-44B4-800E-9A4D16CE1CA4}" dt="2023-07-25T08:17:12.257" v="4558" actId="20577"/>
        <pc:sldMkLst>
          <pc:docMk/>
          <pc:sldMk cId="3744426745" sldId="2147473737"/>
        </pc:sldMkLst>
        <pc:spChg chg="mod">
          <ac:chgData name="Tường SKHĐT" userId="ab9568c39a88b08a" providerId="LiveId" clId="{9423F85F-43A8-44B4-800E-9A4D16CE1CA4}" dt="2023-07-24T04:03:09.353" v="245" actId="1076"/>
          <ac:spMkLst>
            <pc:docMk/>
            <pc:sldMk cId="3744426745" sldId="2147473737"/>
            <ac:spMk id="9" creationId="{58F24AD0-F007-A590-583C-27B1A4CE0310}"/>
          </ac:spMkLst>
        </pc:spChg>
        <pc:graphicFrameChg chg="mod modGraphic">
          <ac:chgData name="Tường SKHĐT" userId="ab9568c39a88b08a" providerId="LiveId" clId="{9423F85F-43A8-44B4-800E-9A4D16CE1CA4}" dt="2023-07-25T08:17:12.257" v="4558" actId="20577"/>
          <ac:graphicFrameMkLst>
            <pc:docMk/>
            <pc:sldMk cId="3744426745" sldId="2147473737"/>
            <ac:graphicFrameMk id="3" creationId="{1243D2EC-FD70-31EF-486E-0289B57D5A19}"/>
          </ac:graphicFrameMkLst>
        </pc:graphicFrameChg>
        <pc:graphicFrameChg chg="del">
          <ac:chgData name="Tường SKHĐT" userId="ab9568c39a88b08a" providerId="LiveId" clId="{9423F85F-43A8-44B4-800E-9A4D16CE1CA4}" dt="2023-07-24T09:25:58.294" v="2537" actId="21"/>
          <ac:graphicFrameMkLst>
            <pc:docMk/>
            <pc:sldMk cId="3744426745" sldId="2147473737"/>
            <ac:graphicFrameMk id="5" creationId="{451E805E-275E-1A0E-FDC4-B15B1F672CF6}"/>
          </ac:graphicFrameMkLst>
        </pc:graphicFrameChg>
        <pc:picChg chg="add mod">
          <ac:chgData name="Tường SKHĐT" userId="ab9568c39a88b08a" providerId="LiveId" clId="{9423F85F-43A8-44B4-800E-9A4D16CE1CA4}" dt="2023-07-25T08:15:29.802" v="4448" actId="1076"/>
          <ac:picMkLst>
            <pc:docMk/>
            <pc:sldMk cId="3744426745" sldId="2147473737"/>
            <ac:picMk id="2" creationId="{56062293-557D-4F7E-7A6A-F260FA8216F1}"/>
          </ac:picMkLst>
        </pc:picChg>
      </pc:sldChg>
      <pc:sldChg chg="modSp mod">
        <pc:chgData name="Tường SKHĐT" userId="ab9568c39a88b08a" providerId="LiveId" clId="{9423F85F-43A8-44B4-800E-9A4D16CE1CA4}" dt="2023-07-25T01:01:48.893" v="3965" actId="20577"/>
        <pc:sldMkLst>
          <pc:docMk/>
          <pc:sldMk cId="3839081106" sldId="2147473738"/>
        </pc:sldMkLst>
        <pc:spChg chg="mod">
          <ac:chgData name="Tường SKHĐT" userId="ab9568c39a88b08a" providerId="LiveId" clId="{9423F85F-43A8-44B4-800E-9A4D16CE1CA4}" dt="2023-07-25T01:00:09.823" v="3939" actId="20577"/>
          <ac:spMkLst>
            <pc:docMk/>
            <pc:sldMk cId="3839081106" sldId="2147473738"/>
            <ac:spMk id="20" creationId="{394D8737-1CA3-C18F-155A-3F82403D4E3B}"/>
          </ac:spMkLst>
        </pc:spChg>
        <pc:spChg chg="mod">
          <ac:chgData name="Tường SKHĐT" userId="ab9568c39a88b08a" providerId="LiveId" clId="{9423F85F-43A8-44B4-800E-9A4D16CE1CA4}" dt="2023-07-25T01:00:20.258" v="3949" actId="20577"/>
          <ac:spMkLst>
            <pc:docMk/>
            <pc:sldMk cId="3839081106" sldId="2147473738"/>
            <ac:spMk id="27" creationId="{8D0CB480-EC39-4DC1-0353-768C8526261D}"/>
          </ac:spMkLst>
        </pc:spChg>
        <pc:spChg chg="mod">
          <ac:chgData name="Tường SKHĐT" userId="ab9568c39a88b08a" providerId="LiveId" clId="{9423F85F-43A8-44B4-800E-9A4D16CE1CA4}" dt="2023-07-25T01:00:15.394" v="3943" actId="20577"/>
          <ac:spMkLst>
            <pc:docMk/>
            <pc:sldMk cId="3839081106" sldId="2147473738"/>
            <ac:spMk id="28" creationId="{0F9FC2CC-E142-6E69-C8D8-33B29DA66359}"/>
          </ac:spMkLst>
        </pc:spChg>
        <pc:spChg chg="mod">
          <ac:chgData name="Tường SKHĐT" userId="ab9568c39a88b08a" providerId="LiveId" clId="{9423F85F-43A8-44B4-800E-9A4D16CE1CA4}" dt="2023-07-25T01:00:26.106" v="3953" actId="20577"/>
          <ac:spMkLst>
            <pc:docMk/>
            <pc:sldMk cId="3839081106" sldId="2147473738"/>
            <ac:spMk id="29" creationId="{8DD5A653-6B03-584A-539A-C531FCC0C782}"/>
          </ac:spMkLst>
        </pc:spChg>
        <pc:spChg chg="mod">
          <ac:chgData name="Tường SKHĐT" userId="ab9568c39a88b08a" providerId="LiveId" clId="{9423F85F-43A8-44B4-800E-9A4D16CE1CA4}" dt="2023-07-25T01:01:48.893" v="3965" actId="20577"/>
          <ac:spMkLst>
            <pc:docMk/>
            <pc:sldMk cId="3839081106" sldId="2147473738"/>
            <ac:spMk id="37" creationId="{A633A4AB-4B54-9DFF-1D3F-EE9B0A4D52DA}"/>
          </ac:spMkLst>
        </pc:spChg>
        <pc:spChg chg="mod">
          <ac:chgData name="Tường SKHĐT" userId="ab9568c39a88b08a" providerId="LiveId" clId="{9423F85F-43A8-44B4-800E-9A4D16CE1CA4}" dt="2023-07-25T01:01:28.294" v="3961" actId="20577"/>
          <ac:spMkLst>
            <pc:docMk/>
            <pc:sldMk cId="3839081106" sldId="2147473738"/>
            <ac:spMk id="47" creationId="{615E2FF8-44B4-E5D2-386A-D270D5A07DA1}"/>
          </ac:spMkLst>
        </pc:spChg>
        <pc:spChg chg="mod">
          <ac:chgData name="Tường SKHĐT" userId="ab9568c39a88b08a" providerId="LiveId" clId="{9423F85F-43A8-44B4-800E-9A4D16CE1CA4}" dt="2023-07-25T01:01:10.307" v="3957" actId="20577"/>
          <ac:spMkLst>
            <pc:docMk/>
            <pc:sldMk cId="3839081106" sldId="2147473738"/>
            <ac:spMk id="53" creationId="{940E7436-8D16-138B-2BFE-178612083DAB}"/>
          </ac:spMkLst>
        </pc:spChg>
      </pc:sldChg>
      <pc:sldChg chg="addSp delSp modSp mod">
        <pc:chgData name="Tường SKHĐT" userId="ab9568c39a88b08a" providerId="LiveId" clId="{9423F85F-43A8-44B4-800E-9A4D16CE1CA4}" dt="2023-07-25T08:31:34.690" v="4766" actId="1076"/>
        <pc:sldMkLst>
          <pc:docMk/>
          <pc:sldMk cId="2148431958" sldId="2147473749"/>
        </pc:sldMkLst>
        <pc:graphicFrameChg chg="mod modGraphic">
          <ac:chgData name="Tường SKHĐT" userId="ab9568c39a88b08a" providerId="LiveId" clId="{9423F85F-43A8-44B4-800E-9A4D16CE1CA4}" dt="2023-07-25T08:31:34.690" v="4766" actId="1076"/>
          <ac:graphicFrameMkLst>
            <pc:docMk/>
            <pc:sldMk cId="2148431958" sldId="2147473749"/>
            <ac:graphicFrameMk id="8" creationId="{B5E5335D-2EED-82AF-3A59-FAE8BB94EAE1}"/>
          </ac:graphicFrameMkLst>
        </pc:graphicFrameChg>
        <pc:picChg chg="del mod">
          <ac:chgData name="Tường SKHĐT" userId="ab9568c39a88b08a" providerId="LiveId" clId="{9423F85F-43A8-44B4-800E-9A4D16CE1CA4}" dt="2023-07-25T01:26:23.533" v="4206" actId="21"/>
          <ac:picMkLst>
            <pc:docMk/>
            <pc:sldMk cId="2148431958" sldId="2147473749"/>
            <ac:picMk id="3" creationId="{776FD919-070A-24CB-23D4-4A613C48A21B}"/>
          </ac:picMkLst>
        </pc:picChg>
        <pc:picChg chg="add mod">
          <ac:chgData name="Tường SKHĐT" userId="ab9568c39a88b08a" providerId="LiveId" clId="{9423F85F-43A8-44B4-800E-9A4D16CE1CA4}" dt="2023-07-25T08:31:32.050" v="4765" actId="1076"/>
          <ac:picMkLst>
            <pc:docMk/>
            <pc:sldMk cId="2148431958" sldId="2147473749"/>
            <ac:picMk id="4" creationId="{0B03A63B-EAE8-62B3-291C-900E93E30343}"/>
          </ac:picMkLst>
        </pc:picChg>
      </pc:sldChg>
      <pc:sldChg chg="del">
        <pc:chgData name="Tường SKHĐT" userId="ab9568c39a88b08a" providerId="LiveId" clId="{9423F85F-43A8-44B4-800E-9A4D16CE1CA4}" dt="2023-07-24T04:05:15.383" v="289" actId="2696"/>
        <pc:sldMkLst>
          <pc:docMk/>
          <pc:sldMk cId="3695198589" sldId="2147473750"/>
        </pc:sldMkLst>
      </pc:sldChg>
      <pc:sldChg chg="modSp add del mod">
        <pc:chgData name="Tường SKHĐT" userId="ab9568c39a88b08a" providerId="LiveId" clId="{9423F85F-43A8-44B4-800E-9A4D16CE1CA4}" dt="2023-07-26T03:20:14.092" v="9225" actId="2696"/>
        <pc:sldMkLst>
          <pc:docMk/>
          <pc:sldMk cId="639639902" sldId="2147473754"/>
        </pc:sldMkLst>
        <pc:graphicFrameChg chg="mod modGraphic">
          <ac:chgData name="Tường SKHĐT" userId="ab9568c39a88b08a" providerId="LiveId" clId="{9423F85F-43A8-44B4-800E-9A4D16CE1CA4}" dt="2023-07-26T03:02:52.620" v="8846"/>
          <ac:graphicFrameMkLst>
            <pc:docMk/>
            <pc:sldMk cId="639639902" sldId="2147473754"/>
            <ac:graphicFrameMk id="6" creationId="{00000000-0000-0000-0000-000000000000}"/>
          </ac:graphicFrameMkLst>
        </pc:graphicFrameChg>
      </pc:sldChg>
      <pc:sldChg chg="del">
        <pc:chgData name="Tường SKHĐT" userId="ab9568c39a88b08a" providerId="LiveId" clId="{9423F85F-43A8-44B4-800E-9A4D16CE1CA4}" dt="2023-07-24T04:01:11.329" v="224" actId="2696"/>
        <pc:sldMkLst>
          <pc:docMk/>
          <pc:sldMk cId="386469802" sldId="2147473758"/>
        </pc:sldMkLst>
      </pc:sldChg>
      <pc:sldChg chg="modSp mod">
        <pc:chgData name="Tường SKHĐT" userId="ab9568c39a88b08a" providerId="LiveId" clId="{9423F85F-43A8-44B4-800E-9A4D16CE1CA4}" dt="2023-07-25T08:32:40.091" v="4778" actId="20577"/>
        <pc:sldMkLst>
          <pc:docMk/>
          <pc:sldMk cId="1424456270" sldId="2147473768"/>
        </pc:sldMkLst>
        <pc:graphicFrameChg chg="mod modGraphic">
          <ac:chgData name="Tường SKHĐT" userId="ab9568c39a88b08a" providerId="LiveId" clId="{9423F85F-43A8-44B4-800E-9A4D16CE1CA4}" dt="2023-07-25T08:32:40.091" v="4778" actId="20577"/>
          <ac:graphicFrameMkLst>
            <pc:docMk/>
            <pc:sldMk cId="1424456270" sldId="2147473768"/>
            <ac:graphicFrameMk id="9" creationId="{0FC7DBA8-03B5-1D5D-B7A1-68AA6F62DF7E}"/>
          </ac:graphicFrameMkLst>
        </pc:graphicFrameChg>
      </pc:sldChg>
      <pc:sldChg chg="del">
        <pc:chgData name="Tường SKHĐT" userId="ab9568c39a88b08a" providerId="LiveId" clId="{9423F85F-43A8-44B4-800E-9A4D16CE1CA4}" dt="2023-07-24T08:24:14.854" v="1138" actId="2696"/>
        <pc:sldMkLst>
          <pc:docMk/>
          <pc:sldMk cId="3251302883" sldId="2147473776"/>
        </pc:sldMkLst>
      </pc:sldChg>
      <pc:sldChg chg="del">
        <pc:chgData name="Tường SKHĐT" userId="ab9568c39a88b08a" providerId="LiveId" clId="{9423F85F-43A8-44B4-800E-9A4D16CE1CA4}" dt="2023-07-24T08:24:17.285" v="1139" actId="2696"/>
        <pc:sldMkLst>
          <pc:docMk/>
          <pc:sldMk cId="1062303806" sldId="2147473777"/>
        </pc:sldMkLst>
      </pc:sldChg>
      <pc:sldChg chg="del">
        <pc:chgData name="Tường SKHĐT" userId="ab9568c39a88b08a" providerId="LiveId" clId="{9423F85F-43A8-44B4-800E-9A4D16CE1CA4}" dt="2023-07-24T08:24:19.691" v="1140" actId="2696"/>
        <pc:sldMkLst>
          <pc:docMk/>
          <pc:sldMk cId="2750415700" sldId="2147473779"/>
        </pc:sldMkLst>
      </pc:sldChg>
      <pc:sldChg chg="del">
        <pc:chgData name="Tường SKHĐT" userId="ab9568c39a88b08a" providerId="LiveId" clId="{9423F85F-43A8-44B4-800E-9A4D16CE1CA4}" dt="2023-07-24T08:24:22.879" v="1141" actId="2696"/>
        <pc:sldMkLst>
          <pc:docMk/>
          <pc:sldMk cId="645932880" sldId="2147473780"/>
        </pc:sldMkLst>
      </pc:sldChg>
      <pc:sldChg chg="del">
        <pc:chgData name="Tường SKHĐT" userId="ab9568c39a88b08a" providerId="LiveId" clId="{9423F85F-43A8-44B4-800E-9A4D16CE1CA4}" dt="2023-07-24T08:24:12.262" v="1137" actId="2696"/>
        <pc:sldMkLst>
          <pc:docMk/>
          <pc:sldMk cId="1719214563" sldId="2147473781"/>
        </pc:sldMkLst>
      </pc:sldChg>
      <pc:sldChg chg="del">
        <pc:chgData name="Tường SKHĐT" userId="ab9568c39a88b08a" providerId="LiveId" clId="{9423F85F-43A8-44B4-800E-9A4D16CE1CA4}" dt="2023-07-24T04:05:21.253" v="290" actId="2696"/>
        <pc:sldMkLst>
          <pc:docMk/>
          <pc:sldMk cId="1731010684" sldId="2147473790"/>
        </pc:sldMkLst>
      </pc:sldChg>
      <pc:sldChg chg="addSp delSp modSp mod">
        <pc:chgData name="Tường SKHĐT" userId="ab9568c39a88b08a" providerId="LiveId" clId="{9423F85F-43A8-44B4-800E-9A4D16CE1CA4}" dt="2023-07-25T08:12:40.420" v="4430" actId="14100"/>
        <pc:sldMkLst>
          <pc:docMk/>
          <pc:sldMk cId="151479067" sldId="2147473792"/>
        </pc:sldMkLst>
        <pc:graphicFrameChg chg="mod">
          <ac:chgData name="Tường SKHĐT" userId="ab9568c39a88b08a" providerId="LiveId" clId="{9423F85F-43A8-44B4-800E-9A4D16CE1CA4}" dt="2023-07-25T08:11:36.308" v="4364" actId="1076"/>
          <ac:graphicFrameMkLst>
            <pc:docMk/>
            <pc:sldMk cId="151479067" sldId="2147473792"/>
            <ac:graphicFrameMk id="2" creationId="{1666E474-47C7-C5E7-32B4-FE87B9754926}"/>
          </ac:graphicFrameMkLst>
        </pc:graphicFrameChg>
        <pc:graphicFrameChg chg="add mod modGraphic">
          <ac:chgData name="Tường SKHĐT" userId="ab9568c39a88b08a" providerId="LiveId" clId="{9423F85F-43A8-44B4-800E-9A4D16CE1CA4}" dt="2023-07-25T08:12:40.420" v="4430" actId="14100"/>
          <ac:graphicFrameMkLst>
            <pc:docMk/>
            <pc:sldMk cId="151479067" sldId="2147473792"/>
            <ac:graphicFrameMk id="3" creationId="{666AD7DA-80CE-7A42-976C-2FA0789BF7F5}"/>
          </ac:graphicFrameMkLst>
        </pc:graphicFrameChg>
        <pc:graphicFrameChg chg="del">
          <ac:chgData name="Tường SKHĐT" userId="ab9568c39a88b08a" providerId="LiveId" clId="{9423F85F-43A8-44B4-800E-9A4D16CE1CA4}" dt="2023-07-25T08:09:42.307" v="4361" actId="21"/>
          <ac:graphicFrameMkLst>
            <pc:docMk/>
            <pc:sldMk cId="151479067" sldId="2147473792"/>
            <ac:graphicFrameMk id="10" creationId="{B7D42763-B167-ACDC-27DF-8D808E8EF944}"/>
          </ac:graphicFrameMkLst>
        </pc:graphicFrameChg>
      </pc:sldChg>
      <pc:sldChg chg="modSp mod">
        <pc:chgData name="Tường SKHĐT" userId="ab9568c39a88b08a" providerId="LiveId" clId="{9423F85F-43A8-44B4-800E-9A4D16CE1CA4}" dt="2023-07-24T04:06:28.603" v="315" actId="20577"/>
        <pc:sldMkLst>
          <pc:docMk/>
          <pc:sldMk cId="374992807" sldId="2147473797"/>
        </pc:sldMkLst>
        <pc:spChg chg="mod">
          <ac:chgData name="Tường SKHĐT" userId="ab9568c39a88b08a" providerId="LiveId" clId="{9423F85F-43A8-44B4-800E-9A4D16CE1CA4}" dt="2023-07-24T04:06:28.603" v="315" actId="20577"/>
          <ac:spMkLst>
            <pc:docMk/>
            <pc:sldMk cId="374992807" sldId="2147473797"/>
            <ac:spMk id="17" creationId="{819C62AF-660F-4A4C-8D60-DED895CA4F86}"/>
          </ac:spMkLst>
        </pc:spChg>
        <pc:spChg chg="mod">
          <ac:chgData name="Tường SKHĐT" userId="ab9568c39a88b08a" providerId="LiveId" clId="{9423F85F-43A8-44B4-800E-9A4D16CE1CA4}" dt="2023-07-24T04:06:25.171" v="310" actId="20577"/>
          <ac:spMkLst>
            <pc:docMk/>
            <pc:sldMk cId="374992807" sldId="2147473797"/>
            <ac:spMk id="38" creationId="{E99E09BE-73DB-3EA0-743A-B6780F7EC077}"/>
          </ac:spMkLst>
        </pc:spChg>
        <pc:spChg chg="mod">
          <ac:chgData name="Tường SKHĐT" userId="ab9568c39a88b08a" providerId="LiveId" clId="{9423F85F-43A8-44B4-800E-9A4D16CE1CA4}" dt="2023-07-24T04:06:11.511" v="298" actId="20577"/>
          <ac:spMkLst>
            <pc:docMk/>
            <pc:sldMk cId="374992807" sldId="2147473797"/>
            <ac:spMk id="39" creationId="{7264A84C-57F7-F74D-C532-6F7E2AD94E1E}"/>
          </ac:spMkLst>
        </pc:spChg>
        <pc:spChg chg="mod">
          <ac:chgData name="Tường SKHĐT" userId="ab9568c39a88b08a" providerId="LiveId" clId="{9423F85F-43A8-44B4-800E-9A4D16CE1CA4}" dt="2023-07-24T04:06:16.359" v="302" actId="20577"/>
          <ac:spMkLst>
            <pc:docMk/>
            <pc:sldMk cId="374992807" sldId="2147473797"/>
            <ac:spMk id="43" creationId="{30203544-5CA4-077B-B78C-B19B96F8FC77}"/>
          </ac:spMkLst>
        </pc:spChg>
      </pc:sldChg>
      <pc:sldChg chg="addSp delSp modSp mod">
        <pc:chgData name="Tường SKHĐT" userId="ab9568c39a88b08a" providerId="LiveId" clId="{9423F85F-43A8-44B4-800E-9A4D16CE1CA4}" dt="2023-07-25T01:29:34.464" v="4225" actId="1076"/>
        <pc:sldMkLst>
          <pc:docMk/>
          <pc:sldMk cId="1258887434" sldId="2147473798"/>
        </pc:sldMkLst>
        <pc:graphicFrameChg chg="del mod">
          <ac:chgData name="Tường SKHĐT" userId="ab9568c39a88b08a" providerId="LiveId" clId="{9423F85F-43A8-44B4-800E-9A4D16CE1CA4}" dt="2023-07-24T09:01:20.278" v="2090" actId="21"/>
          <ac:graphicFrameMkLst>
            <pc:docMk/>
            <pc:sldMk cId="1258887434" sldId="2147473798"/>
            <ac:graphicFrameMk id="2" creationId="{08699298-A1CC-9D6D-3401-90355ACD6DE4}"/>
          </ac:graphicFrameMkLst>
        </pc:graphicFrameChg>
        <pc:graphicFrameChg chg="del">
          <ac:chgData name="Tường SKHĐT" userId="ab9568c39a88b08a" providerId="LiveId" clId="{9423F85F-43A8-44B4-800E-9A4D16CE1CA4}" dt="2023-07-24T09:01:24.363" v="2091"/>
          <ac:graphicFrameMkLst>
            <pc:docMk/>
            <pc:sldMk cId="1258887434" sldId="2147473798"/>
            <ac:graphicFrameMk id="4" creationId="{C721C24F-5B99-F304-D420-BAE353131D05}"/>
          </ac:graphicFrameMkLst>
        </pc:graphicFrameChg>
        <pc:graphicFrameChg chg="del mod">
          <ac:chgData name="Tường SKHĐT" userId="ab9568c39a88b08a" providerId="LiveId" clId="{9423F85F-43A8-44B4-800E-9A4D16CE1CA4}" dt="2023-07-24T09:05:32.964" v="2093" actId="21"/>
          <ac:graphicFrameMkLst>
            <pc:docMk/>
            <pc:sldMk cId="1258887434" sldId="2147473798"/>
            <ac:graphicFrameMk id="6" creationId="{6A9CE874-AA25-081A-1484-983116512EF0}"/>
          </ac:graphicFrameMkLst>
        </pc:graphicFrameChg>
        <pc:graphicFrameChg chg="del">
          <ac:chgData name="Tường SKHĐT" userId="ab9568c39a88b08a" providerId="LiveId" clId="{9423F85F-43A8-44B4-800E-9A4D16CE1CA4}" dt="2023-07-24T09:05:51.698" v="2094" actId="21"/>
          <ac:graphicFrameMkLst>
            <pc:docMk/>
            <pc:sldMk cId="1258887434" sldId="2147473798"/>
            <ac:graphicFrameMk id="7" creationId="{21AA3541-2F7D-3537-96DE-9AEE4BC9E495}"/>
          </ac:graphicFrameMkLst>
        </pc:graphicFrameChg>
        <pc:graphicFrameChg chg="mod modGraphic">
          <ac:chgData name="Tường SKHĐT" userId="ab9568c39a88b08a" providerId="LiveId" clId="{9423F85F-43A8-44B4-800E-9A4D16CE1CA4}" dt="2023-07-25T01:05:54.913" v="4111" actId="1076"/>
          <ac:graphicFrameMkLst>
            <pc:docMk/>
            <pc:sldMk cId="1258887434" sldId="2147473798"/>
            <ac:graphicFrameMk id="8" creationId="{FF75C5B9-FA20-47F5-0041-B54776507D44}"/>
          </ac:graphicFrameMkLst>
        </pc:graphicFrameChg>
        <pc:graphicFrameChg chg="del">
          <ac:chgData name="Tường SKHĐT" userId="ab9568c39a88b08a" providerId="LiveId" clId="{9423F85F-43A8-44B4-800E-9A4D16CE1CA4}" dt="2023-07-24T09:05:56.568" v="2095"/>
          <ac:graphicFrameMkLst>
            <pc:docMk/>
            <pc:sldMk cId="1258887434" sldId="2147473798"/>
            <ac:graphicFrameMk id="9" creationId="{27BC17D2-06C4-C5CE-15F1-44E3EDD5952A}"/>
          </ac:graphicFrameMkLst>
        </pc:graphicFrameChg>
        <pc:graphicFrameChg chg="del mod">
          <ac:chgData name="Tường SKHĐT" userId="ab9568c39a88b08a" providerId="LiveId" clId="{9423F85F-43A8-44B4-800E-9A4D16CE1CA4}" dt="2023-07-25T01:29:03.851" v="4215" actId="21"/>
          <ac:graphicFrameMkLst>
            <pc:docMk/>
            <pc:sldMk cId="1258887434" sldId="2147473798"/>
            <ac:graphicFrameMk id="10" creationId="{73892BEA-6A4E-7373-20B8-A5ED304B8A2C}"/>
          </ac:graphicFrameMkLst>
        </pc:graphicFrameChg>
        <pc:picChg chg="add del mod">
          <ac:chgData name="Tường SKHĐT" userId="ab9568c39a88b08a" providerId="LiveId" clId="{9423F85F-43A8-44B4-800E-9A4D16CE1CA4}" dt="2023-07-25T01:29:26.523" v="4219" actId="21"/>
          <ac:picMkLst>
            <pc:docMk/>
            <pc:sldMk cId="1258887434" sldId="2147473798"/>
            <ac:picMk id="4" creationId="{4CF08B5B-4812-F3C3-0A1A-9251045A8ADF}"/>
          </ac:picMkLst>
        </pc:picChg>
        <pc:picChg chg="del">
          <ac:chgData name="Tường SKHĐT" userId="ab9568c39a88b08a" providerId="LiveId" clId="{9423F85F-43A8-44B4-800E-9A4D16CE1CA4}" dt="2023-07-24T09:01:01.598" v="2088" actId="21"/>
          <ac:picMkLst>
            <pc:docMk/>
            <pc:sldMk cId="1258887434" sldId="2147473798"/>
            <ac:picMk id="5" creationId="{D7D192ED-A090-3C6F-3CA7-2C3CDBC37FF3}"/>
          </ac:picMkLst>
        </pc:picChg>
        <pc:picChg chg="add mod">
          <ac:chgData name="Tường SKHĐT" userId="ab9568c39a88b08a" providerId="LiveId" clId="{9423F85F-43A8-44B4-800E-9A4D16CE1CA4}" dt="2023-07-25T01:29:34.464" v="4225" actId="1076"/>
          <ac:picMkLst>
            <pc:docMk/>
            <pc:sldMk cId="1258887434" sldId="2147473798"/>
            <ac:picMk id="6" creationId="{15CC7270-2BB6-4EC9-A3B1-198A454CE604}"/>
          </ac:picMkLst>
        </pc:picChg>
      </pc:sldChg>
      <pc:sldChg chg="addSp delSp modSp mod">
        <pc:chgData name="Tường SKHĐT" userId="ab9568c39a88b08a" providerId="LiveId" clId="{9423F85F-43A8-44B4-800E-9A4D16CE1CA4}" dt="2023-07-25T08:36:38.401" v="4874" actId="20577"/>
        <pc:sldMkLst>
          <pc:docMk/>
          <pc:sldMk cId="2028050016" sldId="2147473800"/>
        </pc:sldMkLst>
        <pc:graphicFrameChg chg="mod modGraphic">
          <ac:chgData name="Tường SKHĐT" userId="ab9568c39a88b08a" providerId="LiveId" clId="{9423F85F-43A8-44B4-800E-9A4D16CE1CA4}" dt="2023-07-25T08:36:38.401" v="4874" actId="20577"/>
          <ac:graphicFrameMkLst>
            <pc:docMk/>
            <pc:sldMk cId="2028050016" sldId="2147473800"/>
            <ac:graphicFrameMk id="2" creationId="{207C86B0-DBF4-FD20-221B-BD96FD50EA79}"/>
          </ac:graphicFrameMkLst>
        </pc:graphicFrameChg>
        <pc:picChg chg="add mod">
          <ac:chgData name="Tường SKHĐT" userId="ab9568c39a88b08a" providerId="LiveId" clId="{9423F85F-43A8-44B4-800E-9A4D16CE1CA4}" dt="2023-07-25T01:09:21.024" v="4129" actId="14100"/>
          <ac:picMkLst>
            <pc:docMk/>
            <pc:sldMk cId="2028050016" sldId="2147473800"/>
            <ac:picMk id="4" creationId="{6E28E8D7-FF9D-2CCA-8A09-784BF2732419}"/>
          </ac:picMkLst>
        </pc:picChg>
        <pc:picChg chg="del">
          <ac:chgData name="Tường SKHĐT" userId="ab9568c39a88b08a" providerId="LiveId" clId="{9423F85F-43A8-44B4-800E-9A4D16CE1CA4}" dt="2023-07-25T01:08:50.717" v="4112" actId="21"/>
          <ac:picMkLst>
            <pc:docMk/>
            <pc:sldMk cId="2028050016" sldId="2147473800"/>
            <ac:picMk id="7" creationId="{D950AC00-2D36-8436-B3E5-8F968D870802}"/>
          </ac:picMkLst>
        </pc:picChg>
      </pc:sldChg>
      <pc:sldChg chg="del">
        <pc:chgData name="Tường SKHĐT" userId="ab9568c39a88b08a" providerId="LiveId" clId="{9423F85F-43A8-44B4-800E-9A4D16CE1CA4}" dt="2023-07-24T03:55:24.601" v="45" actId="2696"/>
        <pc:sldMkLst>
          <pc:docMk/>
          <pc:sldMk cId="3639331486" sldId="2147473803"/>
        </pc:sldMkLst>
      </pc:sldChg>
      <pc:sldChg chg="modSp mod">
        <pc:chgData name="Tường SKHĐT" userId="ab9568c39a88b08a" providerId="LiveId" clId="{9423F85F-43A8-44B4-800E-9A4D16CE1CA4}" dt="2023-07-24T04:04:46.713" v="288" actId="948"/>
        <pc:sldMkLst>
          <pc:docMk/>
          <pc:sldMk cId="877416782" sldId="2147473804"/>
        </pc:sldMkLst>
        <pc:graphicFrameChg chg="mod modGraphic">
          <ac:chgData name="Tường SKHĐT" userId="ab9568c39a88b08a" providerId="LiveId" clId="{9423F85F-43A8-44B4-800E-9A4D16CE1CA4}" dt="2023-07-24T04:04:46.713" v="288" actId="948"/>
          <ac:graphicFrameMkLst>
            <pc:docMk/>
            <pc:sldMk cId="877416782" sldId="2147473804"/>
            <ac:graphicFrameMk id="3" creationId="{1243D2EC-FD70-31EF-486E-0289B57D5A19}"/>
          </ac:graphicFrameMkLst>
        </pc:graphicFrameChg>
      </pc:sldChg>
      <pc:sldChg chg="del">
        <pc:chgData name="Tường SKHĐT" userId="ab9568c39a88b08a" providerId="LiveId" clId="{9423F85F-43A8-44B4-800E-9A4D16CE1CA4}" dt="2023-07-24T03:48:10.499" v="20" actId="2696"/>
        <pc:sldMkLst>
          <pc:docMk/>
          <pc:sldMk cId="1957643202" sldId="2147473838"/>
        </pc:sldMkLst>
      </pc:sldChg>
      <pc:sldChg chg="delSp modSp mod">
        <pc:chgData name="Tường SKHĐT" userId="ab9568c39a88b08a" providerId="LiveId" clId="{9423F85F-43A8-44B4-800E-9A4D16CE1CA4}" dt="2023-07-24T03:48:48.633" v="24" actId="1076"/>
        <pc:sldMkLst>
          <pc:docMk/>
          <pc:sldMk cId="3752301376" sldId="2147473839"/>
        </pc:sldMkLst>
        <pc:graphicFrameChg chg="del">
          <ac:chgData name="Tường SKHĐT" userId="ab9568c39a88b08a" providerId="LiveId" clId="{9423F85F-43A8-44B4-800E-9A4D16CE1CA4}" dt="2023-07-24T03:48:17.790" v="23" actId="21"/>
          <ac:graphicFrameMkLst>
            <pc:docMk/>
            <pc:sldMk cId="3752301376" sldId="2147473839"/>
            <ac:graphicFrameMk id="3" creationId="{5E56084D-AF42-024A-D0D9-5334B5F27471}"/>
          </ac:graphicFrameMkLst>
        </pc:graphicFrameChg>
        <pc:graphicFrameChg chg="mod">
          <ac:chgData name="Tường SKHĐT" userId="ab9568c39a88b08a" providerId="LiveId" clId="{9423F85F-43A8-44B4-800E-9A4D16CE1CA4}" dt="2023-07-24T03:48:48.633" v="24" actId="1076"/>
          <ac:graphicFrameMkLst>
            <pc:docMk/>
            <pc:sldMk cId="3752301376" sldId="2147473839"/>
            <ac:graphicFrameMk id="4" creationId="{ED4E1245-B487-6521-8D6F-355EA335D161}"/>
          </ac:graphicFrameMkLst>
        </pc:graphicFrameChg>
      </pc:sldChg>
      <pc:sldChg chg="addSp delSp modSp mod">
        <pc:chgData name="Tường SKHĐT" userId="ab9568c39a88b08a" providerId="LiveId" clId="{9423F85F-43A8-44B4-800E-9A4D16CE1CA4}" dt="2023-07-25T01:27:30.931" v="4213" actId="1076"/>
        <pc:sldMkLst>
          <pc:docMk/>
          <pc:sldMk cId="3864172541" sldId="2147473851"/>
        </pc:sldMkLst>
        <pc:spChg chg="del">
          <ac:chgData name="Tường SKHĐT" userId="ab9568c39a88b08a" providerId="LiveId" clId="{9423F85F-43A8-44B4-800E-9A4D16CE1CA4}" dt="2023-07-24T08:27:11.904" v="1290" actId="21"/>
          <ac:spMkLst>
            <pc:docMk/>
            <pc:sldMk cId="3864172541" sldId="2147473851"/>
            <ac:spMk id="4" creationId="{64CB236D-9BC2-9A32-B00C-9747EA53D31F}"/>
          </ac:spMkLst>
        </pc:spChg>
        <pc:graphicFrameChg chg="mod modGraphic">
          <ac:chgData name="Tường SKHĐT" userId="ab9568c39a88b08a" providerId="LiveId" clId="{9423F85F-43A8-44B4-800E-9A4D16CE1CA4}" dt="2023-07-24T09:26:36.232" v="2552" actId="20577"/>
          <ac:graphicFrameMkLst>
            <pc:docMk/>
            <pc:sldMk cId="3864172541" sldId="2147473851"/>
            <ac:graphicFrameMk id="8" creationId="{B5E5335D-2EED-82AF-3A59-FAE8BB94EAE1}"/>
          </ac:graphicFrameMkLst>
        </pc:graphicFrameChg>
        <pc:picChg chg="del">
          <ac:chgData name="Tường SKHĐT" userId="ab9568c39a88b08a" providerId="LiveId" clId="{9423F85F-43A8-44B4-800E-9A4D16CE1CA4}" dt="2023-07-24T09:26:07.503" v="2538" actId="21"/>
          <ac:picMkLst>
            <pc:docMk/>
            <pc:sldMk cId="3864172541" sldId="2147473851"/>
            <ac:picMk id="3" creationId="{0B7CA021-09F3-1F33-484C-C8E22C0125A5}"/>
          </ac:picMkLst>
        </pc:picChg>
        <pc:picChg chg="add mod">
          <ac:chgData name="Tường SKHĐT" userId="ab9568c39a88b08a" providerId="LiveId" clId="{9423F85F-43A8-44B4-800E-9A4D16CE1CA4}" dt="2023-07-25T01:27:30.931" v="4213" actId="1076"/>
          <ac:picMkLst>
            <pc:docMk/>
            <pc:sldMk cId="3864172541" sldId="2147473851"/>
            <ac:picMk id="3" creationId="{E4D795AE-0A17-698E-822E-865F90272C4E}"/>
          </ac:picMkLst>
        </pc:picChg>
      </pc:sldChg>
      <pc:sldChg chg="del">
        <pc:chgData name="Tường SKHĐT" userId="ab9568c39a88b08a" providerId="LiveId" clId="{9423F85F-43A8-44B4-800E-9A4D16CE1CA4}" dt="2023-07-24T08:27:03.693" v="1289" actId="2696"/>
        <pc:sldMkLst>
          <pc:docMk/>
          <pc:sldMk cId="2159545141" sldId="2147473852"/>
        </pc:sldMkLst>
      </pc:sldChg>
      <pc:sldChg chg="del">
        <pc:chgData name="Tường SKHĐT" userId="ab9568c39a88b08a" providerId="LiveId" clId="{9423F85F-43A8-44B4-800E-9A4D16CE1CA4}" dt="2023-07-24T04:06:45.584" v="316" actId="2696"/>
        <pc:sldMkLst>
          <pc:docMk/>
          <pc:sldMk cId="1297180345" sldId="2147473853"/>
        </pc:sldMkLst>
      </pc:sldChg>
      <pc:sldChg chg="modSp mod">
        <pc:chgData name="Tường SKHĐT" userId="ab9568c39a88b08a" providerId="LiveId" clId="{9423F85F-43A8-44B4-800E-9A4D16CE1CA4}" dt="2023-07-25T08:09:26.203" v="4359" actId="20577"/>
        <pc:sldMkLst>
          <pc:docMk/>
          <pc:sldMk cId="595962106" sldId="2147473854"/>
        </pc:sldMkLst>
        <pc:spChg chg="mod">
          <ac:chgData name="Tường SKHĐT" userId="ab9568c39a88b08a" providerId="LiveId" clId="{9423F85F-43A8-44B4-800E-9A4D16CE1CA4}" dt="2023-07-25T08:07:49.626" v="4275" actId="20577"/>
          <ac:spMkLst>
            <pc:docMk/>
            <pc:sldMk cId="595962106" sldId="2147473854"/>
            <ac:spMk id="3" creationId="{A0D5D58A-756E-802D-A09E-1BEA6D184E77}"/>
          </ac:spMkLst>
        </pc:spChg>
        <pc:spChg chg="mod">
          <ac:chgData name="Tường SKHĐT" userId="ab9568c39a88b08a" providerId="LiveId" clId="{9423F85F-43A8-44B4-800E-9A4D16CE1CA4}" dt="2023-07-25T08:09:26.203" v="4359" actId="20577"/>
          <ac:spMkLst>
            <pc:docMk/>
            <pc:sldMk cId="595962106" sldId="2147473854"/>
            <ac:spMk id="6" creationId="{81B6DC98-C123-5771-E46D-17ED3EE03739}"/>
          </ac:spMkLst>
        </pc:spChg>
        <pc:spChg chg="mod">
          <ac:chgData name="Tường SKHĐT" userId="ab9568c39a88b08a" providerId="LiveId" clId="{9423F85F-43A8-44B4-800E-9A4D16CE1CA4}" dt="2023-07-24T09:29:58.346" v="2672" actId="688"/>
          <ac:spMkLst>
            <pc:docMk/>
            <pc:sldMk cId="595962106" sldId="2147473854"/>
            <ac:spMk id="8" creationId="{B8FB4290-57FC-2558-7A55-FDD4B3AD5084}"/>
          </ac:spMkLst>
        </pc:spChg>
        <pc:spChg chg="mod">
          <ac:chgData name="Tường SKHĐT" userId="ab9568c39a88b08a" providerId="LiveId" clId="{9423F85F-43A8-44B4-800E-9A4D16CE1CA4}" dt="2023-07-24T09:31:02.524" v="2753" actId="1076"/>
          <ac:spMkLst>
            <pc:docMk/>
            <pc:sldMk cId="595962106" sldId="2147473854"/>
            <ac:spMk id="10" creationId="{1E41EBCE-1ACE-56B8-F489-0F5C63BC1FBF}"/>
          </ac:spMkLst>
        </pc:spChg>
        <pc:spChg chg="mod">
          <ac:chgData name="Tường SKHĐT" userId="ab9568c39a88b08a" providerId="LiveId" clId="{9423F85F-43A8-44B4-800E-9A4D16CE1CA4}" dt="2023-07-25T08:08:53.263" v="4338" actId="20577"/>
          <ac:spMkLst>
            <pc:docMk/>
            <pc:sldMk cId="595962106" sldId="2147473854"/>
            <ac:spMk id="16" creationId="{CD1FFBD1-4EFA-ED54-8F81-E3C9559069D4}"/>
          </ac:spMkLst>
        </pc:spChg>
        <pc:spChg chg="mod">
          <ac:chgData name="Tường SKHĐT" userId="ab9568c39a88b08a" providerId="LiveId" clId="{9423F85F-43A8-44B4-800E-9A4D16CE1CA4}" dt="2023-07-25T08:08:13.533" v="4296" actId="20577"/>
          <ac:spMkLst>
            <pc:docMk/>
            <pc:sldMk cId="595962106" sldId="2147473854"/>
            <ac:spMk id="720" creationId="{00000000-0000-0000-0000-000000000000}"/>
          </ac:spMkLst>
        </pc:spChg>
        <pc:spChg chg="mod">
          <ac:chgData name="Tường SKHĐT" userId="ab9568c39a88b08a" providerId="LiveId" clId="{9423F85F-43A8-44B4-800E-9A4D16CE1CA4}" dt="2023-07-25T08:08:37.214" v="4320" actId="20577"/>
          <ac:spMkLst>
            <pc:docMk/>
            <pc:sldMk cId="595962106" sldId="2147473854"/>
            <ac:spMk id="726" creationId="{00000000-0000-0000-0000-000000000000}"/>
          </ac:spMkLst>
        </pc:spChg>
      </pc:sldChg>
      <pc:sldChg chg="delSp modSp mod">
        <pc:chgData name="Tường SKHĐT" userId="ab9568c39a88b08a" providerId="LiveId" clId="{9423F85F-43A8-44B4-800E-9A4D16CE1CA4}" dt="2023-07-25T08:32:59.733" v="4782" actId="20577"/>
        <pc:sldMkLst>
          <pc:docMk/>
          <pc:sldMk cId="3676880401" sldId="2147473856"/>
        </pc:sldMkLst>
        <pc:spChg chg="mod">
          <ac:chgData name="Tường SKHĐT" userId="ab9568c39a88b08a" providerId="LiveId" clId="{9423F85F-43A8-44B4-800E-9A4D16CE1CA4}" dt="2023-07-25T08:32:59.733" v="4782" actId="20577"/>
          <ac:spMkLst>
            <pc:docMk/>
            <pc:sldMk cId="3676880401" sldId="2147473856"/>
            <ac:spMk id="3" creationId="{F99C3A99-3E83-02AA-4F66-9882F4B54011}"/>
          </ac:spMkLst>
        </pc:spChg>
        <pc:graphicFrameChg chg="del">
          <ac:chgData name="Tường SKHĐT" userId="ab9568c39a88b08a" providerId="LiveId" clId="{9423F85F-43A8-44B4-800E-9A4D16CE1CA4}" dt="2023-07-24T03:48:53.858" v="25" actId="21"/>
          <ac:graphicFrameMkLst>
            <pc:docMk/>
            <pc:sldMk cId="3676880401" sldId="2147473856"/>
            <ac:graphicFrameMk id="2" creationId="{476C5170-0EAE-A922-B17E-C7DFF6B5120E}"/>
          </ac:graphicFrameMkLst>
        </pc:graphicFrameChg>
        <pc:graphicFrameChg chg="mod">
          <ac:chgData name="Tường SKHĐT" userId="ab9568c39a88b08a" providerId="LiveId" clId="{9423F85F-43A8-44B4-800E-9A4D16CE1CA4}" dt="2023-07-25T00:23:29.108" v="3444" actId="1076"/>
          <ac:graphicFrameMkLst>
            <pc:docMk/>
            <pc:sldMk cId="3676880401" sldId="2147473856"/>
            <ac:graphicFrameMk id="2" creationId="{87C87775-EA25-4CD9-C0F4-6B11BD58E23A}"/>
          </ac:graphicFrameMkLst>
        </pc:graphicFrameChg>
        <pc:graphicFrameChg chg="del mod">
          <ac:chgData name="Tường SKHĐT" userId="ab9568c39a88b08a" providerId="LiveId" clId="{9423F85F-43A8-44B4-800E-9A4D16CE1CA4}" dt="2023-07-25T00:23:17.762" v="3443" actId="21"/>
          <ac:graphicFrameMkLst>
            <pc:docMk/>
            <pc:sldMk cId="3676880401" sldId="2147473856"/>
            <ac:graphicFrameMk id="4" creationId="{25856B41-8C5E-97DE-0576-1C351572090D}"/>
          </ac:graphicFrameMkLst>
        </pc:graphicFrameChg>
      </pc:sldChg>
      <pc:sldChg chg="addSp delSp modSp add del mod">
        <pc:chgData name="Tường SKHĐT" userId="ab9568c39a88b08a" providerId="LiveId" clId="{9423F85F-43A8-44B4-800E-9A4D16CE1CA4}" dt="2023-07-26T02:38:34.252" v="7582" actId="2696"/>
        <pc:sldMkLst>
          <pc:docMk/>
          <pc:sldMk cId="1275755780" sldId="2147473857"/>
        </pc:sldMkLst>
        <pc:spChg chg="add del mod">
          <ac:chgData name="Tường SKHĐT" userId="ab9568c39a88b08a" providerId="LiveId" clId="{9423F85F-43A8-44B4-800E-9A4D16CE1CA4}" dt="2023-07-26T02:16:20.721" v="7520" actId="21"/>
          <ac:spMkLst>
            <pc:docMk/>
            <pc:sldMk cId="1275755780" sldId="2147473857"/>
            <ac:spMk id="3" creationId="{C5F2C429-A722-E68D-2FE9-B6D55B65A8B6}"/>
          </ac:spMkLst>
        </pc:spChg>
        <pc:graphicFrameChg chg="del">
          <ac:chgData name="Tường SKHĐT" userId="ab9568c39a88b08a" providerId="LiveId" clId="{9423F85F-43A8-44B4-800E-9A4D16CE1CA4}" dt="2023-07-26T02:16:17.033" v="7519" actId="21"/>
          <ac:graphicFrameMkLst>
            <pc:docMk/>
            <pc:sldMk cId="1275755780" sldId="2147473857"/>
            <ac:graphicFrameMk id="7" creationId="{21072E10-E213-8230-E87D-66CC2B0F206C}"/>
          </ac:graphicFrameMkLst>
        </pc:graphicFrameChg>
      </pc:sldChg>
      <pc:sldChg chg="delSp modSp add del mod">
        <pc:chgData name="Tường SKHĐT" userId="ab9568c39a88b08a" providerId="LiveId" clId="{9423F85F-43A8-44B4-800E-9A4D16CE1CA4}" dt="2023-07-26T02:06:09.313" v="7476" actId="14100"/>
        <pc:sldMkLst>
          <pc:docMk/>
          <pc:sldMk cId="2431902142" sldId="2147473858"/>
        </pc:sldMkLst>
        <pc:graphicFrameChg chg="mod">
          <ac:chgData name="Tường SKHĐT" userId="ab9568c39a88b08a" providerId="LiveId" clId="{9423F85F-43A8-44B4-800E-9A4D16CE1CA4}" dt="2023-07-26T02:06:09.313" v="7476" actId="14100"/>
          <ac:graphicFrameMkLst>
            <pc:docMk/>
            <pc:sldMk cId="2431902142" sldId="2147473858"/>
            <ac:graphicFrameMk id="3" creationId="{67F525BF-A81E-CE51-570C-C7159D13C686}"/>
          </ac:graphicFrameMkLst>
        </pc:graphicFrameChg>
        <pc:graphicFrameChg chg="mod">
          <ac:chgData name="Tường SKHĐT" userId="ab9568c39a88b08a" providerId="LiveId" clId="{9423F85F-43A8-44B4-800E-9A4D16CE1CA4}" dt="2023-07-26T02:06:05.105" v="7475" actId="14100"/>
          <ac:graphicFrameMkLst>
            <pc:docMk/>
            <pc:sldMk cId="2431902142" sldId="2147473858"/>
            <ac:graphicFrameMk id="5" creationId="{2628C07C-CC0C-801D-3786-996493F9EC14}"/>
          </ac:graphicFrameMkLst>
        </pc:graphicFrameChg>
        <pc:graphicFrameChg chg="del">
          <ac:chgData name="Tường SKHĐT" userId="ab9568c39a88b08a" providerId="LiveId" clId="{9423F85F-43A8-44B4-800E-9A4D16CE1CA4}" dt="2023-07-26T02:04:43.520" v="7459" actId="21"/>
          <ac:graphicFrameMkLst>
            <pc:docMk/>
            <pc:sldMk cId="2431902142" sldId="2147473858"/>
            <ac:graphicFrameMk id="6" creationId="{44FB4D7C-01CC-0736-5D6D-65D7293CE01F}"/>
          </ac:graphicFrameMkLst>
        </pc:graphicFrameChg>
        <pc:graphicFrameChg chg="del">
          <ac:chgData name="Tường SKHĐT" userId="ab9568c39a88b08a" providerId="LiveId" clId="{9423F85F-43A8-44B4-800E-9A4D16CE1CA4}" dt="2023-07-26T02:04:45.831" v="7460" actId="21"/>
          <ac:graphicFrameMkLst>
            <pc:docMk/>
            <pc:sldMk cId="2431902142" sldId="2147473858"/>
            <ac:graphicFrameMk id="7" creationId="{CEED3EA2-0750-10C2-1A30-ACB23F10ADA9}"/>
          </ac:graphicFrameMkLst>
        </pc:graphicFrameChg>
      </pc:sldChg>
      <pc:sldChg chg="addSp delSp modSp add del mod">
        <pc:chgData name="Tường SKHĐT" userId="ab9568c39a88b08a" providerId="LiveId" clId="{9423F85F-43A8-44B4-800E-9A4D16CE1CA4}" dt="2023-07-26T02:15:54.926" v="7516" actId="14100"/>
        <pc:sldMkLst>
          <pc:docMk/>
          <pc:sldMk cId="2423476542" sldId="2147473859"/>
        </pc:sldMkLst>
        <pc:spChg chg="mod">
          <ac:chgData name="Tường SKHĐT" userId="ab9568c39a88b08a" providerId="LiveId" clId="{9423F85F-43A8-44B4-800E-9A4D16CE1CA4}" dt="2023-07-26T02:15:48.129" v="7514" actId="1076"/>
          <ac:spMkLst>
            <pc:docMk/>
            <pc:sldMk cId="2423476542" sldId="2147473859"/>
            <ac:spMk id="4" creationId="{C6888588-A0B1-0B2A-380A-1225B8EED879}"/>
          </ac:spMkLst>
        </pc:spChg>
        <pc:graphicFrameChg chg="del">
          <ac:chgData name="Tường SKHĐT" userId="ab9568c39a88b08a" providerId="LiveId" clId="{9423F85F-43A8-44B4-800E-9A4D16CE1CA4}" dt="2023-07-26T02:06:33.837" v="7479" actId="21"/>
          <ac:graphicFrameMkLst>
            <pc:docMk/>
            <pc:sldMk cId="2423476542" sldId="2147473859"/>
            <ac:graphicFrameMk id="3" creationId="{F167E8E8-8B0D-08B9-2B7D-AE89741F8F8E}"/>
          </ac:graphicFrameMkLst>
        </pc:graphicFrameChg>
        <pc:graphicFrameChg chg="del mod">
          <ac:chgData name="Tường SKHĐT" userId="ab9568c39a88b08a" providerId="LiveId" clId="{9423F85F-43A8-44B4-800E-9A4D16CE1CA4}" dt="2023-07-26T02:07:31.035" v="7484"/>
          <ac:graphicFrameMkLst>
            <pc:docMk/>
            <pc:sldMk cId="2423476542" sldId="2147473859"/>
            <ac:graphicFrameMk id="5" creationId="{47371CF2-CCE9-BCA5-DF5C-62800F2F77C1}"/>
          </ac:graphicFrameMkLst>
        </pc:graphicFrameChg>
        <pc:graphicFrameChg chg="del mod">
          <ac:chgData name="Tường SKHĐT" userId="ab9568c39a88b08a" providerId="LiveId" clId="{9423F85F-43A8-44B4-800E-9A4D16CE1CA4}" dt="2023-07-26T02:14:55.180" v="7501" actId="21"/>
          <ac:graphicFrameMkLst>
            <pc:docMk/>
            <pc:sldMk cId="2423476542" sldId="2147473859"/>
            <ac:graphicFrameMk id="6" creationId="{CA971C29-DED0-FB39-5A74-D5E4B0267E03}"/>
          </ac:graphicFrameMkLst>
        </pc:graphicFrameChg>
        <pc:graphicFrameChg chg="add mod">
          <ac:chgData name="Tường SKHĐT" userId="ab9568c39a88b08a" providerId="LiveId" clId="{9423F85F-43A8-44B4-800E-9A4D16CE1CA4}" dt="2023-07-26T02:15:54.926" v="7516" actId="14100"/>
          <ac:graphicFrameMkLst>
            <pc:docMk/>
            <pc:sldMk cId="2423476542" sldId="2147473859"/>
            <ac:graphicFrameMk id="7" creationId="{7E4DEF8C-C3DD-32B7-EA6D-EC8DBF1D91E7}"/>
          </ac:graphicFrameMkLst>
        </pc:graphicFrameChg>
        <pc:graphicFrameChg chg="mod">
          <ac:chgData name="Tường SKHĐT" userId="ab9568c39a88b08a" providerId="LiveId" clId="{9423F85F-43A8-44B4-800E-9A4D16CE1CA4}" dt="2023-07-26T02:15:42.673" v="7513" actId="14100"/>
          <ac:graphicFrameMkLst>
            <pc:docMk/>
            <pc:sldMk cId="2423476542" sldId="2147473859"/>
            <ac:graphicFrameMk id="8" creationId="{C7786899-1BCC-47B3-098F-8C88F862AC90}"/>
          </ac:graphicFrameMkLst>
        </pc:graphicFrameChg>
      </pc:sldChg>
      <pc:sldChg chg="add">
        <pc:chgData name="Tường SKHĐT" userId="ab9568c39a88b08a" providerId="LiveId" clId="{9423F85F-43A8-44B4-800E-9A4D16CE1CA4}" dt="2023-07-24T08:49:44.542" v="1883"/>
        <pc:sldMkLst>
          <pc:docMk/>
          <pc:sldMk cId="1368355341" sldId="2147473873"/>
        </pc:sldMkLst>
      </pc:sldChg>
      <pc:sldChg chg="addSp delSp modSp add mod">
        <pc:chgData name="Tường SKHĐT" userId="ab9568c39a88b08a" providerId="LiveId" clId="{9423F85F-43A8-44B4-800E-9A4D16CE1CA4}" dt="2023-07-26T01:46:50.524" v="6786" actId="1076"/>
        <pc:sldMkLst>
          <pc:docMk/>
          <pc:sldMk cId="965437266" sldId="2147473879"/>
        </pc:sldMkLst>
        <pc:spChg chg="add mod">
          <ac:chgData name="Tường SKHĐT" userId="ab9568c39a88b08a" providerId="LiveId" clId="{9423F85F-43A8-44B4-800E-9A4D16CE1CA4}" dt="2023-07-26T01:46:50.524" v="6786" actId="1076"/>
          <ac:spMkLst>
            <pc:docMk/>
            <pc:sldMk cId="965437266" sldId="2147473879"/>
            <ac:spMk id="3" creationId="{8ABE98AF-889B-3986-A76F-E752CFDE7CA1}"/>
          </ac:spMkLst>
        </pc:spChg>
        <pc:spChg chg="del">
          <ac:chgData name="Tường SKHĐT" userId="ab9568c39a88b08a" providerId="LiveId" clId="{9423F85F-43A8-44B4-800E-9A4D16CE1CA4}" dt="2023-07-24T04:14:21.738" v="509" actId="21"/>
          <ac:spMkLst>
            <pc:docMk/>
            <pc:sldMk cId="965437266" sldId="2147473879"/>
            <ac:spMk id="3" creationId="{D56CE58D-FB5F-1D10-4BAF-E7B0E8BB9294}"/>
          </ac:spMkLst>
        </pc:spChg>
        <pc:graphicFrameChg chg="mod modGraphic">
          <ac:chgData name="Tường SKHĐT" userId="ab9568c39a88b08a" providerId="LiveId" clId="{9423F85F-43A8-44B4-800E-9A4D16CE1CA4}" dt="2023-07-24T04:26:05.705" v="1047" actId="14100"/>
          <ac:graphicFrameMkLst>
            <pc:docMk/>
            <pc:sldMk cId="965437266" sldId="2147473879"/>
            <ac:graphicFrameMk id="2" creationId="{A091C242-D65F-E0C5-16D6-B15756DA14A6}"/>
          </ac:graphicFrameMkLst>
        </pc:graphicFrameChg>
      </pc:sldChg>
      <pc:sldChg chg="modSp add mod">
        <pc:chgData name="Tường SKHĐT" userId="ab9568c39a88b08a" providerId="LiveId" clId="{9423F85F-43A8-44B4-800E-9A4D16CE1CA4}" dt="2023-07-25T08:27:26.161" v="4683" actId="20577"/>
        <pc:sldMkLst>
          <pc:docMk/>
          <pc:sldMk cId="1226671799" sldId="2147473881"/>
        </pc:sldMkLst>
        <pc:spChg chg="mod">
          <ac:chgData name="Tường SKHĐT" userId="ab9568c39a88b08a" providerId="LiveId" clId="{9423F85F-43A8-44B4-800E-9A4D16CE1CA4}" dt="2023-07-24T09:40:05.052" v="3082" actId="113"/>
          <ac:spMkLst>
            <pc:docMk/>
            <pc:sldMk cId="1226671799" sldId="2147473881"/>
            <ac:spMk id="3" creationId="{D56CE58D-FB5F-1D10-4BAF-E7B0E8BB9294}"/>
          </ac:spMkLst>
        </pc:spChg>
        <pc:spChg chg="mod">
          <ac:chgData name="Tường SKHĐT" userId="ab9568c39a88b08a" providerId="LiveId" clId="{9423F85F-43A8-44B4-800E-9A4D16CE1CA4}" dt="2023-07-25T08:27:26.161" v="4683" actId="20577"/>
          <ac:spMkLst>
            <pc:docMk/>
            <pc:sldMk cId="1226671799" sldId="2147473881"/>
            <ac:spMk id="4" creationId="{00000000-0000-0000-0000-000000000000}"/>
          </ac:spMkLst>
        </pc:spChg>
      </pc:sldChg>
      <pc:sldChg chg="add del">
        <pc:chgData name="Tường SKHĐT" userId="ab9568c39a88b08a" providerId="LiveId" clId="{9423F85F-43A8-44B4-800E-9A4D16CE1CA4}" dt="2023-07-24T04:21:49.899" v="922" actId="2696"/>
        <pc:sldMkLst>
          <pc:docMk/>
          <pc:sldMk cId="3667969833" sldId="2147473890"/>
        </pc:sldMkLst>
      </pc:sldChg>
      <pc:sldChg chg="addSp delSp modSp add mod">
        <pc:chgData name="Tường SKHĐT" userId="ab9568c39a88b08a" providerId="LiveId" clId="{9423F85F-43A8-44B4-800E-9A4D16CE1CA4}" dt="2023-07-26T01:46:58.546" v="6788"/>
        <pc:sldMkLst>
          <pc:docMk/>
          <pc:sldMk cId="819438965" sldId="2147473891"/>
        </pc:sldMkLst>
        <pc:spChg chg="add mod">
          <ac:chgData name="Tường SKHĐT" userId="ab9568c39a88b08a" providerId="LiveId" clId="{9423F85F-43A8-44B4-800E-9A4D16CE1CA4}" dt="2023-07-26T01:46:58.546" v="6788"/>
          <ac:spMkLst>
            <pc:docMk/>
            <pc:sldMk cId="819438965" sldId="2147473891"/>
            <ac:spMk id="3" creationId="{E2D6E028-6B85-920F-60C1-964725A052CC}"/>
          </ac:spMkLst>
        </pc:spChg>
        <pc:spChg chg="del mod">
          <ac:chgData name="Tường SKHĐT" userId="ab9568c39a88b08a" providerId="LiveId" clId="{9423F85F-43A8-44B4-800E-9A4D16CE1CA4}" dt="2023-07-24T04:21:54.178" v="924" actId="21"/>
          <ac:spMkLst>
            <pc:docMk/>
            <pc:sldMk cId="819438965" sldId="2147473891"/>
            <ac:spMk id="4" creationId="{14FBA888-DF33-C797-CD9E-CC136B6C737C}"/>
          </ac:spMkLst>
        </pc:spChg>
        <pc:graphicFrameChg chg="mod">
          <ac:chgData name="Tường SKHĐT" userId="ab9568c39a88b08a" providerId="LiveId" clId="{9423F85F-43A8-44B4-800E-9A4D16CE1CA4}" dt="2023-07-24T04:25:54.447" v="1045"/>
          <ac:graphicFrameMkLst>
            <pc:docMk/>
            <pc:sldMk cId="819438965" sldId="2147473891"/>
            <ac:graphicFrameMk id="2" creationId="{A091C242-D65F-E0C5-16D6-B15756DA14A6}"/>
          </ac:graphicFrameMkLst>
        </pc:graphicFrameChg>
      </pc:sldChg>
      <pc:sldChg chg="delSp modSp add mod">
        <pc:chgData name="Tường SKHĐT" userId="ab9568c39a88b08a" providerId="LiveId" clId="{9423F85F-43A8-44B4-800E-9A4D16CE1CA4}" dt="2023-07-24T08:26:29.576" v="1288" actId="1076"/>
        <pc:sldMkLst>
          <pc:docMk/>
          <pc:sldMk cId="14217182" sldId="2147473892"/>
        </pc:sldMkLst>
        <pc:spChg chg="del mod">
          <ac:chgData name="Tường SKHĐT" userId="ab9568c39a88b08a" providerId="LiveId" clId="{9423F85F-43A8-44B4-800E-9A4D16CE1CA4}" dt="2023-07-24T08:26:24.252" v="1286" actId="21"/>
          <ac:spMkLst>
            <pc:docMk/>
            <pc:sldMk cId="14217182" sldId="2147473892"/>
            <ac:spMk id="3" creationId="{41F7B89A-950B-BCEA-7B34-24C31F06EEAE}"/>
          </ac:spMkLst>
        </pc:spChg>
        <pc:spChg chg="mod">
          <ac:chgData name="Tường SKHĐT" userId="ab9568c39a88b08a" providerId="LiveId" clId="{9423F85F-43A8-44B4-800E-9A4D16CE1CA4}" dt="2023-07-24T08:26:27.519" v="1287" actId="1076"/>
          <ac:spMkLst>
            <pc:docMk/>
            <pc:sldMk cId="14217182" sldId="2147473892"/>
            <ac:spMk id="4" creationId="{F2F47907-BFA6-9C9C-7410-0773243570E0}"/>
          </ac:spMkLst>
        </pc:spChg>
        <pc:graphicFrameChg chg="del mod">
          <ac:chgData name="Tường SKHĐT" userId="ab9568c39a88b08a" providerId="LiveId" clId="{9423F85F-43A8-44B4-800E-9A4D16CE1CA4}" dt="2023-07-24T03:47:42.712" v="18" actId="21"/>
          <ac:graphicFrameMkLst>
            <pc:docMk/>
            <pc:sldMk cId="14217182" sldId="2147473892"/>
            <ac:graphicFrameMk id="2" creationId="{11F0942E-A70F-8F58-14E0-F9A1593B27F8}"/>
          </ac:graphicFrameMkLst>
        </pc:graphicFrameChg>
        <pc:graphicFrameChg chg="mod">
          <ac:chgData name="Tường SKHĐT" userId="ab9568c39a88b08a" providerId="LiveId" clId="{9423F85F-43A8-44B4-800E-9A4D16CE1CA4}" dt="2023-07-24T08:26:29.576" v="1288" actId="1076"/>
          <ac:graphicFrameMkLst>
            <pc:docMk/>
            <pc:sldMk cId="14217182" sldId="2147473892"/>
            <ac:graphicFrameMk id="5" creationId="{E0045843-0063-1FDC-6860-E259C7EB2009}"/>
          </ac:graphicFrameMkLst>
        </pc:graphicFrameChg>
        <pc:graphicFrameChg chg="del">
          <ac:chgData name="Tường SKHĐT" userId="ab9568c39a88b08a" providerId="LiveId" clId="{9423F85F-43A8-44B4-800E-9A4D16CE1CA4}" dt="2023-07-24T03:47:18.919" v="16" actId="21"/>
          <ac:graphicFrameMkLst>
            <pc:docMk/>
            <pc:sldMk cId="14217182" sldId="2147473892"/>
            <ac:graphicFrameMk id="7" creationId="{65ED0CA7-264C-1318-BA20-73CF6FF0B39F}"/>
          </ac:graphicFrameMkLst>
        </pc:graphicFrameChg>
      </pc:sldChg>
      <pc:sldChg chg="modSp add del mod">
        <pc:chgData name="Tường SKHĐT" userId="ab9568c39a88b08a" providerId="LiveId" clId="{9423F85F-43A8-44B4-800E-9A4D16CE1CA4}" dt="2023-07-24T08:51:03.570" v="1896" actId="2696"/>
        <pc:sldMkLst>
          <pc:docMk/>
          <pc:sldMk cId="732930849" sldId="2147473893"/>
        </pc:sldMkLst>
        <pc:graphicFrameChg chg="modGraphic">
          <ac:chgData name="Tường SKHĐT" userId="ab9568c39a88b08a" providerId="LiveId" clId="{9423F85F-43A8-44B4-800E-9A4D16CE1CA4}" dt="2023-07-24T08:48:31.564" v="1882" actId="20577"/>
          <ac:graphicFrameMkLst>
            <pc:docMk/>
            <pc:sldMk cId="732930849" sldId="2147473893"/>
            <ac:graphicFrameMk id="9" creationId="{0FC7DBA8-03B5-1D5D-B7A1-68AA6F62DF7E}"/>
          </ac:graphicFrameMkLst>
        </pc:graphicFrameChg>
      </pc:sldChg>
      <pc:sldChg chg="addSp delSp modSp add mod">
        <pc:chgData name="Tường SKHĐT" userId="ab9568c39a88b08a" providerId="LiveId" clId="{9423F85F-43A8-44B4-800E-9A4D16CE1CA4}" dt="2023-07-25T00:47:55.337" v="3715" actId="20577"/>
        <pc:sldMkLst>
          <pc:docMk/>
          <pc:sldMk cId="801301667" sldId="2147473893"/>
        </pc:sldMkLst>
        <pc:spChg chg="mod">
          <ac:chgData name="Tường SKHĐT" userId="ab9568c39a88b08a" providerId="LiveId" clId="{9423F85F-43A8-44B4-800E-9A4D16CE1CA4}" dt="2023-07-25T00:47:55.337" v="3715" actId="20577"/>
          <ac:spMkLst>
            <pc:docMk/>
            <pc:sldMk cId="801301667" sldId="2147473893"/>
            <ac:spMk id="3" creationId="{22B2B715-653C-5238-09BE-B01B91D4BD2D}"/>
          </ac:spMkLst>
        </pc:spChg>
        <pc:spChg chg="mod">
          <ac:chgData name="Tường SKHĐT" userId="ab9568c39a88b08a" providerId="LiveId" clId="{9423F85F-43A8-44B4-800E-9A4D16CE1CA4}" dt="2023-07-25T00:39:07.417" v="3534" actId="20577"/>
          <ac:spMkLst>
            <pc:docMk/>
            <pc:sldMk cId="801301667" sldId="2147473893"/>
            <ac:spMk id="5" creationId="{18F6A53B-13E4-B860-BA70-773A997297E4}"/>
          </ac:spMkLst>
        </pc:spChg>
        <pc:picChg chg="add del mod">
          <ac:chgData name="Tường SKHĐT" userId="ab9568c39a88b08a" providerId="LiveId" clId="{9423F85F-43A8-44B4-800E-9A4D16CE1CA4}" dt="2023-07-25T00:42:01.739" v="3585" actId="21"/>
          <ac:picMkLst>
            <pc:docMk/>
            <pc:sldMk cId="801301667" sldId="2147473893"/>
            <ac:picMk id="4" creationId="{48984FB6-6871-810B-AFCB-C067F1FDD988}"/>
          </ac:picMkLst>
        </pc:picChg>
        <pc:picChg chg="add mod">
          <ac:chgData name="Tường SKHĐT" userId="ab9568c39a88b08a" providerId="LiveId" clId="{9423F85F-43A8-44B4-800E-9A4D16CE1CA4}" dt="2023-07-25T00:46:14.214" v="3607" actId="14100"/>
          <ac:picMkLst>
            <pc:docMk/>
            <pc:sldMk cId="801301667" sldId="2147473893"/>
            <ac:picMk id="7" creationId="{3BF8D536-B0E5-D500-AE4C-11140DD8B1A3}"/>
          </ac:picMkLst>
        </pc:picChg>
        <pc:picChg chg="add mod">
          <ac:chgData name="Tường SKHĐT" userId="ab9568c39a88b08a" providerId="LiveId" clId="{9423F85F-43A8-44B4-800E-9A4D16CE1CA4}" dt="2023-07-25T00:46:05.040" v="3602" actId="14100"/>
          <ac:picMkLst>
            <pc:docMk/>
            <pc:sldMk cId="801301667" sldId="2147473893"/>
            <ac:picMk id="9" creationId="{DDA4AA86-9886-4A85-803D-4DD81C1022B2}"/>
          </ac:picMkLst>
        </pc:picChg>
      </pc:sldChg>
      <pc:sldChg chg="add del">
        <pc:chgData name="Tường SKHĐT" userId="ab9568c39a88b08a" providerId="LiveId" clId="{9423F85F-43A8-44B4-800E-9A4D16CE1CA4}" dt="2023-07-24T08:25:53.636" v="1285" actId="2890"/>
        <pc:sldMkLst>
          <pc:docMk/>
          <pc:sldMk cId="2851446105" sldId="2147473893"/>
        </pc:sldMkLst>
      </pc:sldChg>
      <pc:sldChg chg="modSp add mod">
        <pc:chgData name="Tường SKHĐT" userId="ab9568c39a88b08a" providerId="LiveId" clId="{9423F85F-43A8-44B4-800E-9A4D16CE1CA4}" dt="2023-07-26T03:25:26.506" v="9235" actId="20577"/>
        <pc:sldMkLst>
          <pc:docMk/>
          <pc:sldMk cId="668478019" sldId="2147473894"/>
        </pc:sldMkLst>
        <pc:spChg chg="mod">
          <ac:chgData name="Tường SKHĐT" userId="ab9568c39a88b08a" providerId="LiveId" clId="{9423F85F-43A8-44B4-800E-9A4D16CE1CA4}" dt="2023-07-26T01:17:28.639" v="5600" actId="20577"/>
          <ac:spMkLst>
            <pc:docMk/>
            <pc:sldMk cId="668478019" sldId="2147473894"/>
            <ac:spMk id="2" creationId="{B1B170EA-ACEE-98CB-EB09-143E5BB6A3C8}"/>
          </ac:spMkLst>
        </pc:spChg>
        <pc:graphicFrameChg chg="mod modGraphic">
          <ac:chgData name="Tường SKHĐT" userId="ab9568c39a88b08a" providerId="LiveId" clId="{9423F85F-43A8-44B4-800E-9A4D16CE1CA4}" dt="2023-07-26T03:25:26.506" v="9235" actId="20577"/>
          <ac:graphicFrameMkLst>
            <pc:docMk/>
            <pc:sldMk cId="668478019" sldId="2147473894"/>
            <ac:graphicFrameMk id="6" creationId="{00000000-0000-0000-0000-000000000000}"/>
          </ac:graphicFrameMkLst>
        </pc:graphicFrameChg>
      </pc:sldChg>
      <pc:sldChg chg="add del">
        <pc:chgData name="Tường SKHĐT" userId="ab9568c39a88b08a" providerId="LiveId" clId="{9423F85F-43A8-44B4-800E-9A4D16CE1CA4}" dt="2023-07-25T08:12:48.388" v="4431" actId="2696"/>
        <pc:sldMkLst>
          <pc:docMk/>
          <pc:sldMk cId="751106562" sldId="2147473894"/>
        </pc:sldMkLst>
      </pc:sldChg>
      <pc:sldChg chg="modSp add del">
        <pc:chgData name="Tường SKHĐT" userId="ab9568c39a88b08a" providerId="LiveId" clId="{9423F85F-43A8-44B4-800E-9A4D16CE1CA4}" dt="2023-07-24T09:41:11.627" v="3123" actId="2696"/>
        <pc:sldMkLst>
          <pc:docMk/>
          <pc:sldMk cId="2968513448" sldId="2147473894"/>
        </pc:sldMkLst>
        <pc:graphicFrameChg chg="mod">
          <ac:chgData name="Tường SKHĐT" userId="ab9568c39a88b08a" providerId="LiveId" clId="{9423F85F-43A8-44B4-800E-9A4D16CE1CA4}" dt="2023-07-24T09:36:08.394" v="3060" actId="108"/>
          <ac:graphicFrameMkLst>
            <pc:docMk/>
            <pc:sldMk cId="2968513448" sldId="2147473894"/>
            <ac:graphicFrameMk id="2" creationId="{A091C242-D65F-E0C5-16D6-B15756DA14A6}"/>
          </ac:graphicFrameMkLst>
        </pc:graphicFrameChg>
      </pc:sldChg>
      <pc:sldChg chg="add del">
        <pc:chgData name="Tường SKHĐT" userId="ab9568c39a88b08a" providerId="LiveId" clId="{9423F85F-43A8-44B4-800E-9A4D16CE1CA4}" dt="2023-07-26T01:38:48.186" v="6569" actId="2696"/>
        <pc:sldMkLst>
          <pc:docMk/>
          <pc:sldMk cId="4059134346" sldId="2147473895"/>
        </pc:sldMkLst>
      </pc:sldChg>
      <pc:sldChg chg="addSp delSp modSp add mod">
        <pc:chgData name="Tường SKHĐT" userId="ab9568c39a88b08a" providerId="LiveId" clId="{9423F85F-43A8-44B4-800E-9A4D16CE1CA4}" dt="2023-07-26T03:10:32.473" v="9204"/>
        <pc:sldMkLst>
          <pc:docMk/>
          <pc:sldMk cId="3402612643" sldId="2147473896"/>
        </pc:sldMkLst>
        <pc:spChg chg="add del mod">
          <ac:chgData name="Tường SKHĐT" userId="ab9568c39a88b08a" providerId="LiveId" clId="{9423F85F-43A8-44B4-800E-9A4D16CE1CA4}" dt="2023-07-26T01:36:11.880" v="6562" actId="21"/>
          <ac:spMkLst>
            <pc:docMk/>
            <pc:sldMk cId="3402612643" sldId="2147473896"/>
            <ac:spMk id="3" creationId="{A587462E-18F6-5B4B-D7DF-940318C3F40C}"/>
          </ac:spMkLst>
        </pc:spChg>
        <pc:spChg chg="add mod">
          <ac:chgData name="Tường SKHĐT" userId="ab9568c39a88b08a" providerId="LiveId" clId="{9423F85F-43A8-44B4-800E-9A4D16CE1CA4}" dt="2023-07-26T02:47:25.129" v="7914" actId="1076"/>
          <ac:spMkLst>
            <pc:docMk/>
            <pc:sldMk cId="3402612643" sldId="2147473896"/>
            <ac:spMk id="4" creationId="{A8A7AAAD-1102-9C56-9BCD-B12686BF79EE}"/>
          </ac:spMkLst>
        </pc:spChg>
        <pc:spChg chg="del">
          <ac:chgData name="Tường SKHĐT" userId="ab9568c39a88b08a" providerId="LiveId" clId="{9423F85F-43A8-44B4-800E-9A4D16CE1CA4}" dt="2023-07-26T01:36:09.745" v="6561" actId="21"/>
          <ac:spMkLst>
            <pc:docMk/>
            <pc:sldMk cId="3402612643" sldId="2147473896"/>
            <ac:spMk id="58370" creationId="{00000000-0000-0000-0000-000000000000}"/>
          </ac:spMkLst>
        </pc:spChg>
        <pc:graphicFrameChg chg="mod modGraphic">
          <ac:chgData name="Tường SKHĐT" userId="ab9568c39a88b08a" providerId="LiveId" clId="{9423F85F-43A8-44B4-800E-9A4D16CE1CA4}" dt="2023-07-26T03:10:32.473" v="9204"/>
          <ac:graphicFrameMkLst>
            <pc:docMk/>
            <pc:sldMk cId="3402612643" sldId="2147473896"/>
            <ac:graphicFrameMk id="6" creationId="{00000000-0000-0000-0000-000000000000}"/>
          </ac:graphicFrameMkLst>
        </pc:graphicFrameChg>
      </pc:sldChg>
      <pc:sldChg chg="add del">
        <pc:chgData name="Tường SKHĐT" userId="ab9568c39a88b08a" providerId="LiveId" clId="{9423F85F-43A8-44B4-800E-9A4D16CE1CA4}" dt="2023-07-26T02:06:24.062" v="7477" actId="2696"/>
        <pc:sldMkLst>
          <pc:docMk/>
          <pc:sldMk cId="2045561765" sldId="2147473897"/>
        </pc:sldMkLst>
      </pc:sldChg>
      <pc:sldChg chg="add del">
        <pc:chgData name="Tường SKHĐT" userId="ab9568c39a88b08a" providerId="LiveId" clId="{9423F85F-43A8-44B4-800E-9A4D16CE1CA4}" dt="2023-07-26T02:11:32.194" v="7488" actId="2696"/>
        <pc:sldMkLst>
          <pc:docMk/>
          <pc:sldMk cId="2590252921" sldId="2147473897"/>
        </pc:sldMkLst>
      </pc:sldChg>
      <pc:sldChg chg="add del">
        <pc:chgData name="Tường SKHĐT" userId="ab9568c39a88b08a" providerId="LiveId" clId="{9423F85F-43A8-44B4-800E-9A4D16CE1CA4}" dt="2023-07-26T02:16:04.591" v="7517" actId="2696"/>
        <pc:sldMkLst>
          <pc:docMk/>
          <pc:sldMk cId="2924746130" sldId="2147473897"/>
        </pc:sldMkLst>
      </pc:sldChg>
      <pc:sldChg chg="addSp delSp modSp add mod">
        <pc:chgData name="Tường SKHĐT" userId="ab9568c39a88b08a" providerId="LiveId" clId="{9423F85F-43A8-44B4-800E-9A4D16CE1CA4}" dt="2023-07-26T02:38:22.829" v="7581" actId="1076"/>
        <pc:sldMkLst>
          <pc:docMk/>
          <pc:sldMk cId="3136861841" sldId="2147473897"/>
        </pc:sldMkLst>
        <pc:spChg chg="add del mod">
          <ac:chgData name="Tường SKHĐT" userId="ab9568c39a88b08a" providerId="LiveId" clId="{9423F85F-43A8-44B4-800E-9A4D16CE1CA4}" dt="2023-07-26T02:35:41.301" v="7565"/>
          <ac:spMkLst>
            <pc:docMk/>
            <pc:sldMk cId="3136861841" sldId="2147473897"/>
            <ac:spMk id="3" creationId="{3E1CC66E-8FB3-373B-BC41-064B9F2767F9}"/>
          </ac:spMkLst>
        </pc:spChg>
        <pc:spChg chg="mod">
          <ac:chgData name="Tường SKHĐT" userId="ab9568c39a88b08a" providerId="LiveId" clId="{9423F85F-43A8-44B4-800E-9A4D16CE1CA4}" dt="2023-07-26T02:38:22.829" v="7581" actId="1076"/>
          <ac:spMkLst>
            <pc:docMk/>
            <pc:sldMk cId="3136861841" sldId="2147473897"/>
            <ac:spMk id="6" creationId="{76A791F0-8BA3-9CFF-F03C-87F8A6165FE5}"/>
          </ac:spMkLst>
        </pc:spChg>
        <pc:graphicFrameChg chg="add del mod">
          <ac:chgData name="Tường SKHĐT" userId="ab9568c39a88b08a" providerId="LiveId" clId="{9423F85F-43A8-44B4-800E-9A4D16CE1CA4}" dt="2023-07-26T02:33:39.061" v="7556" actId="478"/>
          <ac:graphicFrameMkLst>
            <pc:docMk/>
            <pc:sldMk cId="3136861841" sldId="2147473897"/>
            <ac:graphicFrameMk id="5" creationId="{55221C22-FCE5-1A28-745F-E776846FE0EB}"/>
          </ac:graphicFrameMkLst>
        </pc:graphicFrameChg>
        <pc:graphicFrameChg chg="del">
          <ac:chgData name="Tường SKHĐT" userId="ab9568c39a88b08a" providerId="LiveId" clId="{9423F85F-43A8-44B4-800E-9A4D16CE1CA4}" dt="2023-07-26T02:30:11.033" v="7521" actId="478"/>
          <ac:graphicFrameMkLst>
            <pc:docMk/>
            <pc:sldMk cId="3136861841" sldId="2147473897"/>
            <ac:graphicFrameMk id="7" creationId="{21072E10-E213-8230-E87D-66CC2B0F206C}"/>
          </ac:graphicFrameMkLst>
        </pc:graphicFrameChg>
        <pc:graphicFrameChg chg="del mod">
          <ac:chgData name="Tường SKHĐT" userId="ab9568c39a88b08a" providerId="LiveId" clId="{9423F85F-43A8-44B4-800E-9A4D16CE1CA4}" dt="2023-07-26T02:31:46.111" v="7534" actId="478"/>
          <ac:graphicFrameMkLst>
            <pc:docMk/>
            <pc:sldMk cId="3136861841" sldId="2147473897"/>
            <ac:graphicFrameMk id="8" creationId="{75A5030F-EEA8-6377-5530-3C0CC355E0FC}"/>
          </ac:graphicFrameMkLst>
        </pc:graphicFrameChg>
        <pc:graphicFrameChg chg="del mod">
          <ac:chgData name="Tường SKHĐT" userId="ab9568c39a88b08a" providerId="LiveId" clId="{9423F85F-43A8-44B4-800E-9A4D16CE1CA4}" dt="2023-07-26T02:33:44.794" v="7557" actId="478"/>
          <ac:graphicFrameMkLst>
            <pc:docMk/>
            <pc:sldMk cId="3136861841" sldId="2147473897"/>
            <ac:graphicFrameMk id="9" creationId="{97E80418-7D35-AE3C-344A-4EA9389EBAC4}"/>
          </ac:graphicFrameMkLst>
        </pc:graphicFrameChg>
        <pc:graphicFrameChg chg="del mod">
          <ac:chgData name="Tường SKHĐT" userId="ab9568c39a88b08a" providerId="LiveId" clId="{9423F85F-43A8-44B4-800E-9A4D16CE1CA4}" dt="2023-07-26T02:37:28.086" v="7578" actId="478"/>
          <ac:graphicFrameMkLst>
            <pc:docMk/>
            <pc:sldMk cId="3136861841" sldId="2147473897"/>
            <ac:graphicFrameMk id="10" creationId="{C4961F8C-39D5-918B-363A-E2DD17C8A173}"/>
          </ac:graphicFrameMkLst>
        </pc:graphicFrameChg>
        <pc:graphicFrameChg chg="add mod">
          <ac:chgData name="Tường SKHĐT" userId="ab9568c39a88b08a" providerId="LiveId" clId="{9423F85F-43A8-44B4-800E-9A4D16CE1CA4}" dt="2023-07-26T02:36:38.097" v="7575" actId="14100"/>
          <ac:graphicFrameMkLst>
            <pc:docMk/>
            <pc:sldMk cId="3136861841" sldId="2147473897"/>
            <ac:graphicFrameMk id="11" creationId="{55221C22-FCE5-1A28-745F-E776846FE0EB}"/>
          </ac:graphicFrameMkLst>
        </pc:graphicFrameChg>
        <pc:graphicFrameChg chg="mod">
          <ac:chgData name="Tường SKHĐT" userId="ab9568c39a88b08a" providerId="LiveId" clId="{9423F85F-43A8-44B4-800E-9A4D16CE1CA4}" dt="2023-07-26T02:37:41.715" v="7580" actId="14100"/>
          <ac:graphicFrameMkLst>
            <pc:docMk/>
            <pc:sldMk cId="3136861841" sldId="2147473897"/>
            <ac:graphicFrameMk id="12" creationId="{3ED566B1-2BAC-3D8D-CFC1-ADBA07C33438}"/>
          </ac:graphicFrameMkLst>
        </pc:graphicFrameChg>
      </pc:sldChg>
      <pc:sldChg chg="add del">
        <pc:chgData name="Tường SKHĐT" userId="ab9568c39a88b08a" providerId="LiveId" clId="{9423F85F-43A8-44B4-800E-9A4D16CE1CA4}" dt="2023-07-24T02:00:22.147" v="2" actId="2696"/>
        <pc:sldMkLst>
          <pc:docMk/>
          <pc:sldMk cId="1487261171" sldId="2147473898"/>
        </pc:sldMkLst>
      </pc:sldChg>
      <pc:sldChg chg="add del">
        <pc:chgData name="Tường SKHĐT" userId="ab9568c39a88b08a" providerId="LiveId" clId="{9423F85F-43A8-44B4-800E-9A4D16CE1CA4}" dt="2023-07-26T02:48:58.809" v="7954" actId="2696"/>
        <pc:sldMkLst>
          <pc:docMk/>
          <pc:sldMk cId="1776554565" sldId="2147473898"/>
        </pc:sldMkLst>
      </pc:sldChg>
      <pc:sldMasterChg chg="delSldLayout">
        <pc:chgData name="Tường SKHĐT" userId="ab9568c39a88b08a" providerId="LiveId" clId="{9423F85F-43A8-44B4-800E-9A4D16CE1CA4}" dt="2023-07-24T08:21:00.202" v="1049" actId="2696"/>
        <pc:sldMasterMkLst>
          <pc:docMk/>
          <pc:sldMasterMk cId="2184812212" sldId="2147483912"/>
        </pc:sldMasterMkLst>
        <pc:sldLayoutChg chg="del">
          <pc:chgData name="Tường SKHĐT" userId="ab9568c39a88b08a" providerId="LiveId" clId="{9423F85F-43A8-44B4-800E-9A4D16CE1CA4}" dt="2023-07-24T01:59:26.139" v="1" actId="2696"/>
          <pc:sldLayoutMkLst>
            <pc:docMk/>
            <pc:sldMasterMk cId="2184812212" sldId="2147483912"/>
            <pc:sldLayoutMk cId="3725629460" sldId="2147483933"/>
          </pc:sldLayoutMkLst>
        </pc:sldLayoutChg>
        <pc:sldLayoutChg chg="del">
          <pc:chgData name="Tường SKHĐT" userId="ab9568c39a88b08a" providerId="LiveId" clId="{9423F85F-43A8-44B4-800E-9A4D16CE1CA4}" dt="2023-07-24T08:21:00.202" v="1049" actId="2696"/>
          <pc:sldLayoutMkLst>
            <pc:docMk/>
            <pc:sldMasterMk cId="2184812212" sldId="2147483912"/>
            <pc:sldLayoutMk cId="204539486" sldId="2147483935"/>
          </pc:sldLayoutMkLst>
        </pc:sldLayoutChg>
      </pc:sldMasterChg>
    </pc:docChg>
  </pc:docChgLst>
  <pc:docChgLst>
    <pc:chgData name="Tường SKHĐT" userId="ab9568c39a88b08a" providerId="LiveId" clId="{BE80218A-C675-4EC2-AD94-24A89D98EEE1}"/>
    <pc:docChg chg="undo custSel addSld delSld modSld">
      <pc:chgData name="Tường SKHĐT" userId="ab9568c39a88b08a" providerId="LiveId" clId="{BE80218A-C675-4EC2-AD94-24A89D98EEE1}" dt="2023-06-08T07:49:06.856" v="10067" actId="20577"/>
      <pc:docMkLst>
        <pc:docMk/>
      </pc:docMkLst>
      <pc:sldChg chg="add del">
        <pc:chgData name="Tường SKHĐT" userId="ab9568c39a88b08a" providerId="LiveId" clId="{BE80218A-C675-4EC2-AD94-24A89D98EEE1}" dt="2023-06-07T03:37:37.100" v="1974" actId="2696"/>
        <pc:sldMkLst>
          <pc:docMk/>
          <pc:sldMk cId="3433287073" sldId="526"/>
        </pc:sldMkLst>
      </pc:sldChg>
      <pc:sldChg chg="add del">
        <pc:chgData name="Tường SKHĐT" userId="ab9568c39a88b08a" providerId="LiveId" clId="{BE80218A-C675-4EC2-AD94-24A89D98EEE1}" dt="2023-06-07T03:32:03.385" v="1589" actId="2696"/>
        <pc:sldMkLst>
          <pc:docMk/>
          <pc:sldMk cId="2991163202" sldId="539"/>
        </pc:sldMkLst>
      </pc:sldChg>
      <pc:sldChg chg="addSp delSp modSp add mod">
        <pc:chgData name="Tường SKHĐT" userId="ab9568c39a88b08a" providerId="LiveId" clId="{BE80218A-C675-4EC2-AD94-24A89D98EEE1}" dt="2023-06-07T03:51:56.562" v="2167" actId="20577"/>
        <pc:sldMkLst>
          <pc:docMk/>
          <pc:sldMk cId="2319489907" sldId="541"/>
        </pc:sldMkLst>
        <pc:spChg chg="mod">
          <ac:chgData name="Tường SKHĐT" userId="ab9568c39a88b08a" providerId="LiveId" clId="{BE80218A-C675-4EC2-AD94-24A89D98EEE1}" dt="2023-06-07T03:32:37.999" v="1604" actId="14100"/>
          <ac:spMkLst>
            <pc:docMk/>
            <pc:sldMk cId="2319489907" sldId="541"/>
            <ac:spMk id="2" creationId="{E44EE9E0-4EA3-0404-EFB1-8C6F74BFB274}"/>
          </ac:spMkLst>
        </pc:spChg>
        <pc:spChg chg="mod">
          <ac:chgData name="Tường SKHĐT" userId="ab9568c39a88b08a" providerId="LiveId" clId="{BE80218A-C675-4EC2-AD94-24A89D98EEE1}" dt="2023-06-07T03:51:56.562" v="2167" actId="20577"/>
          <ac:spMkLst>
            <pc:docMk/>
            <pc:sldMk cId="2319489907" sldId="541"/>
            <ac:spMk id="3" creationId="{22B2B715-653C-5238-09BE-B01B91D4BD2D}"/>
          </ac:spMkLst>
        </pc:spChg>
        <pc:spChg chg="del">
          <ac:chgData name="Tường SKHĐT" userId="ab9568c39a88b08a" providerId="LiveId" clId="{BE80218A-C675-4EC2-AD94-24A89D98EEE1}" dt="2023-06-07T03:32:07.357" v="1590" actId="21"/>
          <ac:spMkLst>
            <pc:docMk/>
            <pc:sldMk cId="2319489907" sldId="541"/>
            <ac:spMk id="4" creationId="{9D2F2080-50A0-6420-BD42-38A92C6AB08D}"/>
          </ac:spMkLst>
        </pc:spChg>
        <pc:spChg chg="add mod">
          <ac:chgData name="Tường SKHĐT" userId="ab9568c39a88b08a" providerId="LiveId" clId="{BE80218A-C675-4EC2-AD94-24A89D98EEE1}" dt="2023-06-07T03:32:41.987" v="1605" actId="1076"/>
          <ac:spMkLst>
            <pc:docMk/>
            <pc:sldMk cId="2319489907" sldId="541"/>
            <ac:spMk id="5" creationId="{18F6A53B-13E4-B860-BA70-773A997297E4}"/>
          </ac:spMkLst>
        </pc:spChg>
        <pc:spChg chg="del">
          <ac:chgData name="Tường SKHĐT" userId="ab9568c39a88b08a" providerId="LiveId" clId="{BE80218A-C675-4EC2-AD94-24A89D98EEE1}" dt="2023-06-07T03:32:07.357" v="1590" actId="21"/>
          <ac:spMkLst>
            <pc:docMk/>
            <pc:sldMk cId="2319489907" sldId="541"/>
            <ac:spMk id="8" creationId="{310BDFE0-6C26-8FF6-17BC-7D420AAE6BB9}"/>
          </ac:spMkLst>
        </pc:spChg>
      </pc:sldChg>
      <pc:sldChg chg="add del">
        <pc:chgData name="Tường SKHĐT" userId="ab9568c39a88b08a" providerId="LiveId" clId="{BE80218A-C675-4EC2-AD94-24A89D98EEE1}" dt="2023-06-07T03:37:46.163" v="1976" actId="2696"/>
        <pc:sldMkLst>
          <pc:docMk/>
          <pc:sldMk cId="2569004803" sldId="542"/>
        </pc:sldMkLst>
      </pc:sldChg>
      <pc:sldChg chg="add del">
        <pc:chgData name="Tường SKHĐT" userId="ab9568c39a88b08a" providerId="LiveId" clId="{BE80218A-C675-4EC2-AD94-24A89D98EEE1}" dt="2023-06-07T03:37:21.697" v="1971" actId="2696"/>
        <pc:sldMkLst>
          <pc:docMk/>
          <pc:sldMk cId="222035395" sldId="543"/>
        </pc:sldMkLst>
      </pc:sldChg>
      <pc:sldChg chg="add del">
        <pc:chgData name="Tường SKHĐT" userId="ab9568c39a88b08a" providerId="LiveId" clId="{BE80218A-C675-4EC2-AD94-24A89D98EEE1}" dt="2023-06-07T03:36:55.914" v="1924" actId="2696"/>
        <pc:sldMkLst>
          <pc:docMk/>
          <pc:sldMk cId="2756607218" sldId="544"/>
        </pc:sldMkLst>
      </pc:sldChg>
      <pc:sldChg chg="add del">
        <pc:chgData name="Tường SKHĐT" userId="ab9568c39a88b08a" providerId="LiveId" clId="{BE80218A-C675-4EC2-AD94-24A89D98EEE1}" dt="2023-06-07T03:36:29.531" v="1880" actId="2696"/>
        <pc:sldMkLst>
          <pc:docMk/>
          <pc:sldMk cId="2512179538" sldId="545"/>
        </pc:sldMkLst>
      </pc:sldChg>
      <pc:sldChg chg="add del">
        <pc:chgData name="Tường SKHĐT" userId="ab9568c39a88b08a" providerId="LiveId" clId="{BE80218A-C675-4EC2-AD94-24A89D98EEE1}" dt="2023-06-07T03:36:18.608" v="1878" actId="2696"/>
        <pc:sldMkLst>
          <pc:docMk/>
          <pc:sldMk cId="2154953636" sldId="546"/>
        </pc:sldMkLst>
      </pc:sldChg>
      <pc:sldChg chg="del">
        <pc:chgData name="Tường SKHĐT" userId="ab9568c39a88b08a" providerId="LiveId" clId="{BE80218A-C675-4EC2-AD94-24A89D98EEE1}" dt="2023-06-06T03:19:44.868" v="1331" actId="2696"/>
        <pc:sldMkLst>
          <pc:docMk/>
          <pc:sldMk cId="1473453022" sldId="2147473487"/>
        </pc:sldMkLst>
      </pc:sldChg>
      <pc:sldChg chg="del">
        <pc:chgData name="Tường SKHĐT" userId="ab9568c39a88b08a" providerId="LiveId" clId="{BE80218A-C675-4EC2-AD94-24A89D98EEE1}" dt="2023-06-07T03:58:35.337" v="2290" actId="2696"/>
        <pc:sldMkLst>
          <pc:docMk/>
          <pc:sldMk cId="2307671257" sldId="2147473521"/>
        </pc:sldMkLst>
      </pc:sldChg>
      <pc:sldChg chg="modSp mod">
        <pc:chgData name="Tường SKHĐT" userId="ab9568c39a88b08a" providerId="LiveId" clId="{BE80218A-C675-4EC2-AD94-24A89D98EEE1}" dt="2023-06-07T04:06:15.733" v="2401" actId="14100"/>
        <pc:sldMkLst>
          <pc:docMk/>
          <pc:sldMk cId="2802465441" sldId="2147473522"/>
        </pc:sldMkLst>
        <pc:graphicFrameChg chg="mod modGraphic">
          <ac:chgData name="Tường SKHĐT" userId="ab9568c39a88b08a" providerId="LiveId" clId="{BE80218A-C675-4EC2-AD94-24A89D98EEE1}" dt="2023-06-07T04:06:15.733" v="2401" actId="14100"/>
          <ac:graphicFrameMkLst>
            <pc:docMk/>
            <pc:sldMk cId="2802465441" sldId="2147473522"/>
            <ac:graphicFrameMk id="9" creationId="{0FC7DBA8-03B5-1D5D-B7A1-68AA6F62DF7E}"/>
          </ac:graphicFrameMkLst>
        </pc:graphicFrameChg>
      </pc:sldChg>
      <pc:sldChg chg="del">
        <pc:chgData name="Tường SKHĐT" userId="ab9568c39a88b08a" providerId="LiveId" clId="{BE80218A-C675-4EC2-AD94-24A89D98EEE1}" dt="2023-06-06T04:12:49.264" v="1432" actId="2696"/>
        <pc:sldMkLst>
          <pc:docMk/>
          <pc:sldMk cId="397313561" sldId="2147473547"/>
        </pc:sldMkLst>
      </pc:sldChg>
      <pc:sldChg chg="addSp delSp modSp mod">
        <pc:chgData name="Tường SKHĐT" userId="ab9568c39a88b08a" providerId="LiveId" clId="{BE80218A-C675-4EC2-AD94-24A89D98EEE1}" dt="2023-06-08T03:15:05.359" v="9387" actId="14100"/>
        <pc:sldMkLst>
          <pc:docMk/>
          <pc:sldMk cId="1163171153" sldId="2147473582"/>
        </pc:sldMkLst>
        <pc:spChg chg="mod">
          <ac:chgData name="Tường SKHĐT" userId="ab9568c39a88b08a" providerId="LiveId" clId="{BE80218A-C675-4EC2-AD94-24A89D98EEE1}" dt="2023-06-08T03:14:46.990" v="9383" actId="1076"/>
          <ac:spMkLst>
            <pc:docMk/>
            <pc:sldMk cId="1163171153" sldId="2147473582"/>
            <ac:spMk id="2" creationId="{A49FA47D-1679-133E-0301-5CFB76FC4F8D}"/>
          </ac:spMkLst>
        </pc:spChg>
        <pc:graphicFrameChg chg="mod">
          <ac:chgData name="Tường SKHĐT" userId="ab9568c39a88b08a" providerId="LiveId" clId="{BE80218A-C675-4EC2-AD94-24A89D98EEE1}" dt="2023-06-08T03:13:13.854" v="9337" actId="1076"/>
          <ac:graphicFrameMkLst>
            <pc:docMk/>
            <pc:sldMk cId="1163171153" sldId="2147473582"/>
            <ac:graphicFrameMk id="13" creationId="{BA133DC1-3B7F-1EF5-AC03-623DAED491B9}"/>
          </ac:graphicFrameMkLst>
        </pc:graphicFrameChg>
        <pc:picChg chg="add mod">
          <ac:chgData name="Tường SKHĐT" userId="ab9568c39a88b08a" providerId="LiveId" clId="{BE80218A-C675-4EC2-AD94-24A89D98EEE1}" dt="2023-06-08T03:15:05.359" v="9387" actId="14100"/>
          <ac:picMkLst>
            <pc:docMk/>
            <pc:sldMk cId="1163171153" sldId="2147473582"/>
            <ac:picMk id="3" creationId="{8ECDE32C-3CEA-B622-DD60-CA5D943EEBEB}"/>
          </ac:picMkLst>
        </pc:picChg>
        <pc:picChg chg="mod">
          <ac:chgData name="Tường SKHĐT" userId="ab9568c39a88b08a" providerId="LiveId" clId="{BE80218A-C675-4EC2-AD94-24A89D98EEE1}" dt="2023-06-08T03:14:49.148" v="9384" actId="1076"/>
          <ac:picMkLst>
            <pc:docMk/>
            <pc:sldMk cId="1163171153" sldId="2147473582"/>
            <ac:picMk id="5" creationId="{36D40177-B5F5-4CD7-89E9-D49ADE361564}"/>
          </ac:picMkLst>
        </pc:picChg>
        <pc:picChg chg="del">
          <ac:chgData name="Tường SKHĐT" userId="ab9568c39a88b08a" providerId="LiveId" clId="{BE80218A-C675-4EC2-AD94-24A89D98EEE1}" dt="2023-06-08T03:13:02.433" v="9332" actId="21"/>
          <ac:picMkLst>
            <pc:docMk/>
            <pc:sldMk cId="1163171153" sldId="2147473582"/>
            <ac:picMk id="8" creationId="{83D3B8D5-360E-E1E0-FC28-3F5272FBAFB5}"/>
          </ac:picMkLst>
        </pc:picChg>
      </pc:sldChg>
      <pc:sldChg chg="modSp mod">
        <pc:chgData name="Tường SKHĐT" userId="ab9568c39a88b08a" providerId="LiveId" clId="{BE80218A-C675-4EC2-AD94-24A89D98EEE1}" dt="2023-06-08T03:15:36.430" v="9390" actId="14100"/>
        <pc:sldMkLst>
          <pc:docMk/>
          <pc:sldMk cId="740355695" sldId="2147473583"/>
        </pc:sldMkLst>
        <pc:spChg chg="mod">
          <ac:chgData name="Tường SKHĐT" userId="ab9568c39a88b08a" providerId="LiveId" clId="{BE80218A-C675-4EC2-AD94-24A89D98EEE1}" dt="2023-06-08T03:15:36.430" v="9390" actId="14100"/>
          <ac:spMkLst>
            <pc:docMk/>
            <pc:sldMk cId="740355695" sldId="2147473583"/>
            <ac:spMk id="3" creationId="{F4077AF3-E87B-6ED3-C32E-F690520025FC}"/>
          </ac:spMkLst>
        </pc:spChg>
      </pc:sldChg>
      <pc:sldChg chg="addSp delSp modSp del">
        <pc:chgData name="Tường SKHĐT" userId="ab9568c39a88b08a" providerId="LiveId" clId="{BE80218A-C675-4EC2-AD94-24A89D98EEE1}" dt="2023-06-07T04:02:13.721" v="2335" actId="2696"/>
        <pc:sldMkLst>
          <pc:docMk/>
          <pc:sldMk cId="2711314153" sldId="2147473605"/>
        </pc:sldMkLst>
        <pc:spChg chg="add del mod">
          <ac:chgData name="Tường SKHĐT" userId="ab9568c39a88b08a" providerId="LiveId" clId="{BE80218A-C675-4EC2-AD94-24A89D98EEE1}" dt="2023-06-07T03:32:14.505" v="1592"/>
          <ac:spMkLst>
            <pc:docMk/>
            <pc:sldMk cId="2711314153" sldId="2147473605"/>
            <ac:spMk id="2" creationId="{8A69C966-D596-3C45-BE4C-8252EE6349DE}"/>
          </ac:spMkLst>
        </pc:spChg>
      </pc:sldChg>
      <pc:sldChg chg="add">
        <pc:chgData name="Tường SKHĐT" userId="ab9568c39a88b08a" providerId="LiveId" clId="{BE80218A-C675-4EC2-AD94-24A89D98EEE1}" dt="2023-06-06T03:23:42.647" v="1370"/>
        <pc:sldMkLst>
          <pc:docMk/>
          <pc:sldMk cId="1174761856" sldId="2147473632"/>
        </pc:sldMkLst>
      </pc:sldChg>
      <pc:sldChg chg="addSp delSp modSp mod">
        <pc:chgData name="Tường SKHĐT" userId="ab9568c39a88b08a" providerId="LiveId" clId="{BE80218A-C675-4EC2-AD94-24A89D98EEE1}" dt="2023-06-08T02:50:29.728" v="8485" actId="1076"/>
        <pc:sldMkLst>
          <pc:docMk/>
          <pc:sldMk cId="635207881" sldId="2147473670"/>
        </pc:sldMkLst>
        <pc:spChg chg="mod">
          <ac:chgData name="Tường SKHĐT" userId="ab9568c39a88b08a" providerId="LiveId" clId="{BE80218A-C675-4EC2-AD94-24A89D98EEE1}" dt="2023-06-07T08:49:26.210" v="2962" actId="1076"/>
          <ac:spMkLst>
            <pc:docMk/>
            <pc:sldMk cId="635207881" sldId="2147473670"/>
            <ac:spMk id="7" creationId="{ACBD9817-7C26-4351-4F99-4699D41AD9E3}"/>
          </ac:spMkLst>
        </pc:spChg>
        <pc:spChg chg="mod">
          <ac:chgData name="Tường SKHĐT" userId="ab9568c39a88b08a" providerId="LiveId" clId="{BE80218A-C675-4EC2-AD94-24A89D98EEE1}" dt="2023-06-07T08:49:24.143" v="2961" actId="1076"/>
          <ac:spMkLst>
            <pc:docMk/>
            <pc:sldMk cId="635207881" sldId="2147473670"/>
            <ac:spMk id="12" creationId="{9770937D-1377-CC7E-CF4C-63302C488F3E}"/>
          </ac:spMkLst>
        </pc:spChg>
        <pc:graphicFrameChg chg="del mod modGraphic">
          <ac:chgData name="Tường SKHĐT" userId="ab9568c39a88b08a" providerId="LiveId" clId="{BE80218A-C675-4EC2-AD94-24A89D98EEE1}" dt="2023-06-07T08:50:39.276" v="2976" actId="21"/>
          <ac:graphicFrameMkLst>
            <pc:docMk/>
            <pc:sldMk cId="635207881" sldId="2147473670"/>
            <ac:graphicFrameMk id="2" creationId="{3BF8E8E2-FC7A-766D-120A-12F0136F960F}"/>
          </ac:graphicFrameMkLst>
        </pc:graphicFrameChg>
        <pc:graphicFrameChg chg="mod">
          <ac:chgData name="Tường SKHĐT" userId="ab9568c39a88b08a" providerId="LiveId" clId="{BE80218A-C675-4EC2-AD94-24A89D98EEE1}" dt="2023-06-08T02:50:29.728" v="8485" actId="1076"/>
          <ac:graphicFrameMkLst>
            <pc:docMk/>
            <pc:sldMk cId="635207881" sldId="2147473670"/>
            <ac:graphicFrameMk id="2" creationId="{5A69614E-E563-542C-0FFA-4E46BF5706A8}"/>
          </ac:graphicFrameMkLst>
        </pc:graphicFrameChg>
        <pc:graphicFrameChg chg="add mod modGraphic">
          <ac:chgData name="Tường SKHĐT" userId="ab9568c39a88b08a" providerId="LiveId" clId="{BE80218A-C675-4EC2-AD94-24A89D98EEE1}" dt="2023-06-07T10:13:54.757" v="4922" actId="20577"/>
          <ac:graphicFrameMkLst>
            <pc:docMk/>
            <pc:sldMk cId="635207881" sldId="2147473670"/>
            <ac:graphicFrameMk id="3" creationId="{27267577-2F7F-EB37-FACE-F5430831095C}"/>
          </ac:graphicFrameMkLst>
        </pc:graphicFrameChg>
        <pc:graphicFrameChg chg="del mod">
          <ac:chgData name="Tường SKHĐT" userId="ab9568c39a88b08a" providerId="LiveId" clId="{BE80218A-C675-4EC2-AD94-24A89D98EEE1}" dt="2023-06-08T02:50:24.756" v="8484" actId="21"/>
          <ac:graphicFrameMkLst>
            <pc:docMk/>
            <pc:sldMk cId="635207881" sldId="2147473670"/>
            <ac:graphicFrameMk id="11" creationId="{8CE30905-28A9-9689-2C3E-6531B00500B9}"/>
          </ac:graphicFrameMkLst>
        </pc:graphicFrameChg>
      </pc:sldChg>
      <pc:sldChg chg="modSp mod">
        <pc:chgData name="Tường SKHĐT" userId="ab9568c39a88b08a" providerId="LiveId" clId="{BE80218A-C675-4EC2-AD94-24A89D98EEE1}" dt="2023-06-07T09:42:46.777" v="3445" actId="1076"/>
        <pc:sldMkLst>
          <pc:docMk/>
          <pc:sldMk cId="293803616" sldId="2147473681"/>
        </pc:sldMkLst>
        <pc:graphicFrameChg chg="mod">
          <ac:chgData name="Tường SKHĐT" userId="ab9568c39a88b08a" providerId="LiveId" clId="{BE80218A-C675-4EC2-AD94-24A89D98EEE1}" dt="2023-06-07T09:42:46.777" v="3445" actId="1076"/>
          <ac:graphicFrameMkLst>
            <pc:docMk/>
            <pc:sldMk cId="293803616" sldId="2147473681"/>
            <ac:graphicFrameMk id="8" creationId="{B5E5335D-2EED-82AF-3A59-FAE8BB94EAE1}"/>
          </ac:graphicFrameMkLst>
        </pc:graphicFrameChg>
      </pc:sldChg>
      <pc:sldChg chg="del">
        <pc:chgData name="Tường SKHĐT" userId="ab9568c39a88b08a" providerId="LiveId" clId="{BE80218A-C675-4EC2-AD94-24A89D98EEE1}" dt="2023-06-05T04:28:25.094" v="0" actId="2696"/>
        <pc:sldMkLst>
          <pc:docMk/>
          <pc:sldMk cId="2891713991" sldId="2147473682"/>
        </pc:sldMkLst>
      </pc:sldChg>
      <pc:sldChg chg="modSp">
        <pc:chgData name="Tường SKHĐT" userId="ab9568c39a88b08a" providerId="LiveId" clId="{BE80218A-C675-4EC2-AD94-24A89D98EEE1}" dt="2023-06-05T04:41:23.741" v="71" actId="20577"/>
        <pc:sldMkLst>
          <pc:docMk/>
          <pc:sldMk cId="3956457276" sldId="2147473683"/>
        </pc:sldMkLst>
        <pc:spChg chg="mod">
          <ac:chgData name="Tường SKHĐT" userId="ab9568c39a88b08a" providerId="LiveId" clId="{BE80218A-C675-4EC2-AD94-24A89D98EEE1}" dt="2023-06-05T04:41:23.741" v="71" actId="20577"/>
          <ac:spMkLst>
            <pc:docMk/>
            <pc:sldMk cId="3956457276" sldId="2147473683"/>
            <ac:spMk id="2" creationId="{A49FA47D-1679-133E-0301-5CFB76FC4F8D}"/>
          </ac:spMkLst>
        </pc:spChg>
      </pc:sldChg>
      <pc:sldChg chg="addSp modSp mod">
        <pc:chgData name="Tường SKHĐT" userId="ab9568c39a88b08a" providerId="LiveId" clId="{BE80218A-C675-4EC2-AD94-24A89D98EEE1}" dt="2023-06-05T04:40:52.867" v="69" actId="20577"/>
        <pc:sldMkLst>
          <pc:docMk/>
          <pc:sldMk cId="67746271" sldId="2147473699"/>
        </pc:sldMkLst>
        <pc:spChg chg="mod">
          <ac:chgData name="Tường SKHĐT" userId="ab9568c39a88b08a" providerId="LiveId" clId="{BE80218A-C675-4EC2-AD94-24A89D98EEE1}" dt="2023-06-05T04:40:52.867" v="69" actId="20577"/>
          <ac:spMkLst>
            <pc:docMk/>
            <pc:sldMk cId="67746271" sldId="2147473699"/>
            <ac:spMk id="4" creationId="{FEB40E86-96DD-7002-066A-784713A27A1C}"/>
          </ac:spMkLst>
        </pc:spChg>
        <pc:picChg chg="add mod">
          <ac:chgData name="Tường SKHĐT" userId="ab9568c39a88b08a" providerId="LiveId" clId="{BE80218A-C675-4EC2-AD94-24A89D98EEE1}" dt="2023-06-05T04:40:43.278" v="44" actId="1076"/>
          <ac:picMkLst>
            <pc:docMk/>
            <pc:sldMk cId="67746271" sldId="2147473699"/>
            <ac:picMk id="3" creationId="{530083A4-E582-0190-B92E-13E604C98618}"/>
          </ac:picMkLst>
        </pc:picChg>
      </pc:sldChg>
      <pc:sldChg chg="modSp mod">
        <pc:chgData name="Tường SKHĐT" userId="ab9568c39a88b08a" providerId="LiveId" clId="{BE80218A-C675-4EC2-AD94-24A89D98EEE1}" dt="2023-06-07T08:25:45.548" v="2661" actId="14100"/>
        <pc:sldMkLst>
          <pc:docMk/>
          <pc:sldMk cId="1628374629" sldId="2147473704"/>
        </pc:sldMkLst>
        <pc:graphicFrameChg chg="mod modGraphic">
          <ac:chgData name="Tường SKHĐT" userId="ab9568c39a88b08a" providerId="LiveId" clId="{BE80218A-C675-4EC2-AD94-24A89D98EEE1}" dt="2023-06-07T08:25:45.548" v="2661" actId="14100"/>
          <ac:graphicFrameMkLst>
            <pc:docMk/>
            <pc:sldMk cId="1628374629" sldId="2147473704"/>
            <ac:graphicFrameMk id="2" creationId="{FBFFDBCD-49A2-B604-F9E9-B81E95DF4EB5}"/>
          </ac:graphicFrameMkLst>
        </pc:graphicFrameChg>
      </pc:sldChg>
      <pc:sldChg chg="add">
        <pc:chgData name="Tường SKHĐT" userId="ab9568c39a88b08a" providerId="LiveId" clId="{BE80218A-C675-4EC2-AD94-24A89D98EEE1}" dt="2023-06-06T03:23:42.647" v="1370"/>
        <pc:sldMkLst>
          <pc:docMk/>
          <pc:sldMk cId="3384527337" sldId="2147473719"/>
        </pc:sldMkLst>
      </pc:sldChg>
      <pc:sldChg chg="modSp mod">
        <pc:chgData name="Tường SKHĐT" userId="ab9568c39a88b08a" providerId="LiveId" clId="{BE80218A-C675-4EC2-AD94-24A89D98EEE1}" dt="2023-06-06T03:34:55.588" v="1428" actId="20577"/>
        <pc:sldMkLst>
          <pc:docMk/>
          <pc:sldMk cId="909716554" sldId="2147473727"/>
        </pc:sldMkLst>
        <pc:graphicFrameChg chg="modGraphic">
          <ac:chgData name="Tường SKHĐT" userId="ab9568c39a88b08a" providerId="LiveId" clId="{BE80218A-C675-4EC2-AD94-24A89D98EEE1}" dt="2023-06-06T03:34:55.588" v="1428" actId="20577"/>
          <ac:graphicFrameMkLst>
            <pc:docMk/>
            <pc:sldMk cId="909716554" sldId="2147473727"/>
            <ac:graphicFrameMk id="5" creationId="{B5E5335D-2EED-82AF-3A59-FAE8BB94EAE1}"/>
          </ac:graphicFrameMkLst>
        </pc:graphicFrameChg>
      </pc:sldChg>
      <pc:sldChg chg="addSp delSp modSp mod">
        <pc:chgData name="Tường SKHĐT" userId="ab9568c39a88b08a" providerId="LiveId" clId="{BE80218A-C675-4EC2-AD94-24A89D98EEE1}" dt="2023-06-06T03:27:18.665" v="1382" actId="14100"/>
        <pc:sldMkLst>
          <pc:docMk/>
          <pc:sldMk cId="2569991023" sldId="2147473733"/>
        </pc:sldMkLst>
        <pc:graphicFrameChg chg="modGraphic">
          <ac:chgData name="Tường SKHĐT" userId="ab9568c39a88b08a" providerId="LiveId" clId="{BE80218A-C675-4EC2-AD94-24A89D98EEE1}" dt="2023-06-06T03:24:05.257" v="1373" actId="20577"/>
          <ac:graphicFrameMkLst>
            <pc:docMk/>
            <pc:sldMk cId="2569991023" sldId="2147473733"/>
            <ac:graphicFrameMk id="8" creationId="{B5E5335D-2EED-82AF-3A59-FAE8BB94EAE1}"/>
          </ac:graphicFrameMkLst>
        </pc:graphicFrameChg>
        <pc:picChg chg="del">
          <ac:chgData name="Tường SKHĐT" userId="ab9568c39a88b08a" providerId="LiveId" clId="{BE80218A-C675-4EC2-AD94-24A89D98EEE1}" dt="2023-06-06T03:27:01.684" v="1374" actId="21"/>
          <ac:picMkLst>
            <pc:docMk/>
            <pc:sldMk cId="2569991023" sldId="2147473733"/>
            <ac:picMk id="2" creationId="{8AD87206-4C50-4DB5-8F5A-727327E5FF65}"/>
          </ac:picMkLst>
        </pc:picChg>
        <pc:picChg chg="add mod">
          <ac:chgData name="Tường SKHĐT" userId="ab9568c39a88b08a" providerId="LiveId" clId="{BE80218A-C675-4EC2-AD94-24A89D98EEE1}" dt="2023-06-06T03:27:18.665" v="1382" actId="14100"/>
          <ac:picMkLst>
            <pc:docMk/>
            <pc:sldMk cId="2569991023" sldId="2147473733"/>
            <ac:picMk id="4" creationId="{5045E7A8-8A58-D06A-A74A-C57274D706D5}"/>
          </ac:picMkLst>
        </pc:picChg>
      </pc:sldChg>
      <pc:sldChg chg="addSp delSp modSp mod">
        <pc:chgData name="Tường SKHĐT" userId="ab9568c39a88b08a" providerId="LiveId" clId="{BE80218A-C675-4EC2-AD94-24A89D98EEE1}" dt="2023-06-08T07:04:06.609" v="9427" actId="1076"/>
        <pc:sldMkLst>
          <pc:docMk/>
          <pc:sldMk cId="2648267713" sldId="2147473739"/>
        </pc:sldMkLst>
        <pc:spChg chg="add mod">
          <ac:chgData name="Tường SKHĐT" userId="ab9568c39a88b08a" providerId="LiveId" clId="{BE80218A-C675-4EC2-AD94-24A89D98EEE1}" dt="2023-06-08T07:03:55.606" v="9421" actId="1076"/>
          <ac:spMkLst>
            <pc:docMk/>
            <pc:sldMk cId="2648267713" sldId="2147473739"/>
            <ac:spMk id="8" creationId="{4EAC2DD8-1CA5-EDED-30C3-F2BDF6945EE2}"/>
          </ac:spMkLst>
        </pc:spChg>
        <pc:spChg chg="add mod">
          <ac:chgData name="Tường SKHĐT" userId="ab9568c39a88b08a" providerId="LiveId" clId="{BE80218A-C675-4EC2-AD94-24A89D98EEE1}" dt="2023-06-08T07:04:06.609" v="9427" actId="1076"/>
          <ac:spMkLst>
            <pc:docMk/>
            <pc:sldMk cId="2648267713" sldId="2147473739"/>
            <ac:spMk id="9" creationId="{11F1CF45-82C6-CE05-FF9E-D5ABD2C98FEA}"/>
          </ac:spMkLst>
        </pc:spChg>
        <pc:spChg chg="del">
          <ac:chgData name="Tường SKHĐT" userId="ab9568c39a88b08a" providerId="LiveId" clId="{BE80218A-C675-4EC2-AD94-24A89D98EEE1}" dt="2023-06-08T07:03:45.653" v="9419" actId="21"/>
          <ac:spMkLst>
            <pc:docMk/>
            <pc:sldMk cId="2648267713" sldId="2147473739"/>
            <ac:spMk id="19" creationId="{122A9A1C-AFFE-3821-B2D0-B1BF037AF2EA}"/>
          </ac:spMkLst>
        </pc:spChg>
        <pc:spChg chg="del">
          <ac:chgData name="Tường SKHĐT" userId="ab9568c39a88b08a" providerId="LiveId" clId="{BE80218A-C675-4EC2-AD94-24A89D98EEE1}" dt="2023-06-08T07:04:00.832" v="9425" actId="21"/>
          <ac:spMkLst>
            <pc:docMk/>
            <pc:sldMk cId="2648267713" sldId="2147473739"/>
            <ac:spMk id="20" creationId="{9EFE970E-0B98-B556-3A4B-E26C7CAD10CA}"/>
          </ac:spMkLst>
        </pc:spChg>
        <pc:spChg chg="mod">
          <ac:chgData name="Tường SKHĐT" userId="ab9568c39a88b08a" providerId="LiveId" clId="{BE80218A-C675-4EC2-AD94-24A89D98EEE1}" dt="2023-06-08T07:03:57.625" v="9424" actId="20577"/>
          <ac:spMkLst>
            <pc:docMk/>
            <pc:sldMk cId="2648267713" sldId="2147473739"/>
            <ac:spMk id="720" creationId="{00000000-0000-0000-0000-000000000000}"/>
          </ac:spMkLst>
        </pc:spChg>
      </pc:sldChg>
      <pc:sldChg chg="addSp delSp modSp mod">
        <pc:chgData name="Tường SKHĐT" userId="ab9568c39a88b08a" providerId="LiveId" clId="{BE80218A-C675-4EC2-AD94-24A89D98EEE1}" dt="2023-06-07T09:50:45.399" v="3502" actId="14100"/>
        <pc:sldMkLst>
          <pc:docMk/>
          <pc:sldMk cId="276788838" sldId="2147473743"/>
        </pc:sldMkLst>
        <pc:spChg chg="add mod">
          <ac:chgData name="Tường SKHĐT" userId="ab9568c39a88b08a" providerId="LiveId" clId="{BE80218A-C675-4EC2-AD94-24A89D98EEE1}" dt="2023-06-07T07:49:17.482" v="2502" actId="20577"/>
          <ac:spMkLst>
            <pc:docMk/>
            <pc:sldMk cId="276788838" sldId="2147473743"/>
            <ac:spMk id="3" creationId="{9363D8CF-2C85-3BF9-B7BB-9B85B15F2F06}"/>
          </ac:spMkLst>
        </pc:spChg>
        <pc:spChg chg="del">
          <ac:chgData name="Tường SKHĐT" userId="ab9568c39a88b08a" providerId="LiveId" clId="{BE80218A-C675-4EC2-AD94-24A89D98EEE1}" dt="2023-06-06T04:14:01.754" v="1436" actId="21"/>
          <ac:spMkLst>
            <pc:docMk/>
            <pc:sldMk cId="276788838" sldId="2147473743"/>
            <ac:spMk id="6" creationId="{AD8FCB44-5401-4810-551D-B0072A6956BA}"/>
          </ac:spMkLst>
        </pc:spChg>
        <pc:graphicFrameChg chg="del">
          <ac:chgData name="Tường SKHĐT" userId="ab9568c39a88b08a" providerId="LiveId" clId="{BE80218A-C675-4EC2-AD94-24A89D98EEE1}" dt="2023-06-06T04:13:55.831" v="1435" actId="21"/>
          <ac:graphicFrameMkLst>
            <pc:docMk/>
            <pc:sldMk cId="276788838" sldId="2147473743"/>
            <ac:graphicFrameMk id="2" creationId="{3E45EC01-8919-CDD1-BF49-FD790779B8D8}"/>
          </ac:graphicFrameMkLst>
        </pc:graphicFrameChg>
        <pc:graphicFrameChg chg="del mod">
          <ac:chgData name="Tường SKHĐT" userId="ab9568c39a88b08a" providerId="LiveId" clId="{BE80218A-C675-4EC2-AD94-24A89D98EEE1}" dt="2023-06-07T09:50:12.845" v="3500" actId="21"/>
          <ac:graphicFrameMkLst>
            <pc:docMk/>
            <pc:sldMk cId="276788838" sldId="2147473743"/>
            <ac:graphicFrameMk id="2" creationId="{8B00EFD9-B1AF-3C6C-9E3B-7ED8338C5732}"/>
          </ac:graphicFrameMkLst>
        </pc:graphicFrameChg>
        <pc:graphicFrameChg chg="del mod">
          <ac:chgData name="Tường SKHĐT" userId="ab9568c39a88b08a" providerId="LiveId" clId="{BE80218A-C675-4EC2-AD94-24A89D98EEE1}" dt="2023-06-06T04:17:40.090" v="1562" actId="21"/>
          <ac:graphicFrameMkLst>
            <pc:docMk/>
            <pc:sldMk cId="276788838" sldId="2147473743"/>
            <ac:graphicFrameMk id="4" creationId="{7797DB3D-F747-944F-3F8D-DB6F2A08D04E}"/>
          </ac:graphicFrameMkLst>
        </pc:graphicFrameChg>
        <pc:graphicFrameChg chg="mod">
          <ac:chgData name="Tường SKHĐT" userId="ab9568c39a88b08a" providerId="LiveId" clId="{BE80218A-C675-4EC2-AD94-24A89D98EEE1}" dt="2023-06-07T09:50:45.399" v="3502" actId="14100"/>
          <ac:graphicFrameMkLst>
            <pc:docMk/>
            <pc:sldMk cId="276788838" sldId="2147473743"/>
            <ac:graphicFrameMk id="4" creationId="{B8EEDDFA-4967-9BF6-F902-B3BFC6AFBC40}"/>
          </ac:graphicFrameMkLst>
        </pc:graphicFrameChg>
        <pc:graphicFrameChg chg="del">
          <ac:chgData name="Tường SKHĐT" userId="ab9568c39a88b08a" providerId="LiveId" clId="{BE80218A-C675-4EC2-AD94-24A89D98EEE1}" dt="2023-06-06T04:13:53.405" v="1434" actId="21"/>
          <ac:graphicFrameMkLst>
            <pc:docMk/>
            <pc:sldMk cId="276788838" sldId="2147473743"/>
            <ac:graphicFrameMk id="5" creationId="{A12A8C36-ABD5-9F37-3859-60C635D270CE}"/>
          </ac:graphicFrameMkLst>
        </pc:graphicFrameChg>
        <pc:graphicFrameChg chg="del mod">
          <ac:chgData name="Tường SKHĐT" userId="ab9568c39a88b08a" providerId="LiveId" clId="{BE80218A-C675-4EC2-AD94-24A89D98EEE1}" dt="2023-06-07T07:49:19.353" v="2503" actId="21"/>
          <ac:graphicFrameMkLst>
            <pc:docMk/>
            <pc:sldMk cId="276788838" sldId="2147473743"/>
            <ac:graphicFrameMk id="7" creationId="{5EEF4045-5BA4-E0B4-06C5-5927D8F5A4DD}"/>
          </ac:graphicFrameMkLst>
        </pc:graphicFrameChg>
      </pc:sldChg>
      <pc:sldChg chg="delSp mod">
        <pc:chgData name="Tường SKHĐT" userId="ab9568c39a88b08a" providerId="LiveId" clId="{BE80218A-C675-4EC2-AD94-24A89D98EEE1}" dt="2023-06-06T04:11:33.639" v="1430" actId="21"/>
        <pc:sldMkLst>
          <pc:docMk/>
          <pc:sldMk cId="2196586738" sldId="2147473745"/>
        </pc:sldMkLst>
        <pc:graphicFrameChg chg="del">
          <ac:chgData name="Tường SKHĐT" userId="ab9568c39a88b08a" providerId="LiveId" clId="{BE80218A-C675-4EC2-AD94-24A89D98EEE1}" dt="2023-06-06T04:11:33.639" v="1430" actId="21"/>
          <ac:graphicFrameMkLst>
            <pc:docMk/>
            <pc:sldMk cId="2196586738" sldId="2147473745"/>
            <ac:graphicFrameMk id="4" creationId="{9BF64355-BC13-9BDC-CD65-9C5D898845EB}"/>
          </ac:graphicFrameMkLst>
        </pc:graphicFrameChg>
      </pc:sldChg>
      <pc:sldChg chg="delSp modSp mod">
        <pc:chgData name="Tường SKHĐT" userId="ab9568c39a88b08a" providerId="LiveId" clId="{BE80218A-C675-4EC2-AD94-24A89D98EEE1}" dt="2023-06-08T02:51:01.072" v="8490" actId="14100"/>
        <pc:sldMkLst>
          <pc:docMk/>
          <pc:sldMk cId="3695198589" sldId="2147473750"/>
        </pc:sldMkLst>
        <pc:graphicFrameChg chg="mod">
          <ac:chgData name="Tường SKHĐT" userId="ab9568c39a88b08a" providerId="LiveId" clId="{BE80218A-C675-4EC2-AD94-24A89D98EEE1}" dt="2023-06-08T02:51:01.072" v="8490" actId="14100"/>
          <ac:graphicFrameMkLst>
            <pc:docMk/>
            <pc:sldMk cId="3695198589" sldId="2147473750"/>
            <ac:graphicFrameMk id="3" creationId="{A5FB3A6E-B32E-C0AF-953C-6DA986BEDA07}"/>
          </ac:graphicFrameMkLst>
        </pc:graphicFrameChg>
        <pc:graphicFrameChg chg="del">
          <ac:chgData name="Tường SKHĐT" userId="ab9568c39a88b08a" providerId="LiveId" clId="{BE80218A-C675-4EC2-AD94-24A89D98EEE1}" dt="2023-06-08T02:50:56.719" v="8488" actId="21"/>
          <ac:graphicFrameMkLst>
            <pc:docMk/>
            <pc:sldMk cId="3695198589" sldId="2147473750"/>
            <ac:graphicFrameMk id="5" creationId="{37679C12-F1EE-757F-A161-9FA9A285B624}"/>
          </ac:graphicFrameMkLst>
        </pc:graphicFrameChg>
      </pc:sldChg>
      <pc:sldChg chg="addSp delSp modSp mod">
        <pc:chgData name="Tường SKHĐT" userId="ab9568c39a88b08a" providerId="LiveId" clId="{BE80218A-C675-4EC2-AD94-24A89D98EEE1}" dt="2023-06-08T02:51:35.655" v="8495" actId="14100"/>
        <pc:sldMkLst>
          <pc:docMk/>
          <pc:sldMk cId="1980939669" sldId="2147473751"/>
        </pc:sldMkLst>
        <pc:graphicFrameChg chg="del">
          <ac:chgData name="Tường SKHĐT" userId="ab9568c39a88b08a" providerId="LiveId" clId="{BE80218A-C675-4EC2-AD94-24A89D98EEE1}" dt="2023-06-07T10:07:45.967" v="4503" actId="21"/>
          <ac:graphicFrameMkLst>
            <pc:docMk/>
            <pc:sldMk cId="1980939669" sldId="2147473751"/>
            <ac:graphicFrameMk id="2" creationId="{3BF8E8E2-FC7A-766D-120A-12F0136F960F}"/>
          </ac:graphicFrameMkLst>
        </pc:graphicFrameChg>
        <pc:graphicFrameChg chg="mod">
          <ac:chgData name="Tường SKHĐT" userId="ab9568c39a88b08a" providerId="LiveId" clId="{BE80218A-C675-4EC2-AD94-24A89D98EEE1}" dt="2023-06-08T02:51:35.655" v="8495" actId="14100"/>
          <ac:graphicFrameMkLst>
            <pc:docMk/>
            <pc:sldMk cId="1980939669" sldId="2147473751"/>
            <ac:graphicFrameMk id="2" creationId="{6DE5CCC4-3384-8F89-AA03-B8C7F3D92FDB}"/>
          </ac:graphicFrameMkLst>
        </pc:graphicFrameChg>
        <pc:graphicFrameChg chg="add mod modGraphic">
          <ac:chgData name="Tường SKHĐT" userId="ab9568c39a88b08a" providerId="LiveId" clId="{BE80218A-C675-4EC2-AD94-24A89D98EEE1}" dt="2023-06-07T10:15:44.187" v="5162" actId="20577"/>
          <ac:graphicFrameMkLst>
            <pc:docMk/>
            <pc:sldMk cId="1980939669" sldId="2147473751"/>
            <ac:graphicFrameMk id="4" creationId="{9F8BA5CC-ECD9-7097-9746-4017ADAF9292}"/>
          </ac:graphicFrameMkLst>
        </pc:graphicFrameChg>
        <pc:graphicFrameChg chg="del mod">
          <ac:chgData name="Tường SKHĐT" userId="ab9568c39a88b08a" providerId="LiveId" clId="{BE80218A-C675-4EC2-AD94-24A89D98EEE1}" dt="2023-06-08T02:51:29.898" v="8493" actId="21"/>
          <ac:graphicFrameMkLst>
            <pc:docMk/>
            <pc:sldMk cId="1980939669" sldId="2147473751"/>
            <ac:graphicFrameMk id="8" creationId="{9254A4BE-B2FE-9F80-DCFF-5586FAD9EA68}"/>
          </ac:graphicFrameMkLst>
        </pc:graphicFrameChg>
      </pc:sldChg>
      <pc:sldChg chg="addSp delSp modSp add mod">
        <pc:chgData name="Tường SKHĐT" userId="ab9568c39a88b08a" providerId="LiveId" clId="{BE80218A-C675-4EC2-AD94-24A89D98EEE1}" dt="2023-06-08T04:17:09.858" v="9394" actId="1076"/>
        <pc:sldMkLst>
          <pc:docMk/>
          <pc:sldMk cId="343020626" sldId="2147473755"/>
        </pc:sldMkLst>
        <pc:spChg chg="add mod">
          <ac:chgData name="Tường SKHĐT" userId="ab9568c39a88b08a" providerId="LiveId" clId="{BE80218A-C675-4EC2-AD94-24A89D98EEE1}" dt="2023-06-06T02:16:13.226" v="1106" actId="1076"/>
          <ac:spMkLst>
            <pc:docMk/>
            <pc:sldMk cId="343020626" sldId="2147473755"/>
            <ac:spMk id="2" creationId="{452B1F82-822B-EF70-0133-F9BAD474E8D9}"/>
          </ac:spMkLst>
        </pc:spChg>
        <pc:spChg chg="mod">
          <ac:chgData name="Tường SKHĐT" userId="ab9568c39a88b08a" providerId="LiveId" clId="{BE80218A-C675-4EC2-AD94-24A89D98EEE1}" dt="2023-06-06T02:16:06.266" v="1104" actId="1076"/>
          <ac:spMkLst>
            <pc:docMk/>
            <pc:sldMk cId="343020626" sldId="2147473755"/>
            <ac:spMk id="3" creationId="{E2060C7B-D80B-2D4B-6C50-1215E3EA3460}"/>
          </ac:spMkLst>
        </pc:spChg>
        <pc:graphicFrameChg chg="mod">
          <ac:chgData name="Tường SKHĐT" userId="ab9568c39a88b08a" providerId="LiveId" clId="{BE80218A-C675-4EC2-AD94-24A89D98EEE1}" dt="2023-06-08T04:17:09.858" v="9394" actId="1076"/>
          <ac:graphicFrameMkLst>
            <pc:docMk/>
            <pc:sldMk cId="343020626" sldId="2147473755"/>
            <ac:graphicFrameMk id="4" creationId="{95C94118-843D-0C4C-856C-08BC977115B6}"/>
          </ac:graphicFrameMkLst>
        </pc:graphicFrameChg>
        <pc:graphicFrameChg chg="del">
          <ac:chgData name="Tường SKHĐT" userId="ab9568c39a88b08a" providerId="LiveId" clId="{BE80218A-C675-4EC2-AD94-24A89D98EEE1}" dt="2023-06-06T02:15:24.073" v="1007" actId="21"/>
          <ac:graphicFrameMkLst>
            <pc:docMk/>
            <pc:sldMk cId="343020626" sldId="2147473755"/>
            <ac:graphicFrameMk id="4" creationId="{9C70833E-C9DD-DCB6-D8B1-95B01701F187}"/>
          </ac:graphicFrameMkLst>
        </pc:graphicFrameChg>
        <pc:graphicFrameChg chg="del mod">
          <ac:chgData name="Tường SKHĐT" userId="ab9568c39a88b08a" providerId="LiveId" clId="{BE80218A-C675-4EC2-AD94-24A89D98EEE1}" dt="2023-06-06T02:17:28.842" v="1109"/>
          <ac:graphicFrameMkLst>
            <pc:docMk/>
            <pc:sldMk cId="343020626" sldId="2147473755"/>
            <ac:graphicFrameMk id="6" creationId="{68DAD4BC-F07E-4947-B63A-FF0EB81D1A70}"/>
          </ac:graphicFrameMkLst>
        </pc:graphicFrameChg>
        <pc:graphicFrameChg chg="del mod">
          <ac:chgData name="Tường SKHĐT" userId="ab9568c39a88b08a" providerId="LiveId" clId="{BE80218A-C675-4EC2-AD94-24A89D98EEE1}" dt="2023-06-06T02:40:25.067" v="1231" actId="21"/>
          <ac:graphicFrameMkLst>
            <pc:docMk/>
            <pc:sldMk cId="343020626" sldId="2147473755"/>
            <ac:graphicFrameMk id="7" creationId="{FE3FFE1B-175D-55EF-4774-BC0D059B0060}"/>
          </ac:graphicFrameMkLst>
        </pc:graphicFrameChg>
        <pc:graphicFrameChg chg="del mod">
          <ac:chgData name="Tường SKHĐT" userId="ab9568c39a88b08a" providerId="LiveId" clId="{BE80218A-C675-4EC2-AD94-24A89D98EEE1}" dt="2023-06-06T02:41:58.939" v="1235" actId="21"/>
          <ac:graphicFrameMkLst>
            <pc:docMk/>
            <pc:sldMk cId="343020626" sldId="2147473755"/>
            <ac:graphicFrameMk id="9" creationId="{0072D1C0-CF4B-362D-AB38-D47A8817734D}"/>
          </ac:graphicFrameMkLst>
        </pc:graphicFrameChg>
        <pc:graphicFrameChg chg="del mod">
          <ac:chgData name="Tường SKHĐT" userId="ab9568c39a88b08a" providerId="LiveId" clId="{BE80218A-C675-4EC2-AD94-24A89D98EEE1}" dt="2023-06-06T02:52:17.662" v="1241" actId="21"/>
          <ac:graphicFrameMkLst>
            <pc:docMk/>
            <pc:sldMk cId="343020626" sldId="2147473755"/>
            <ac:graphicFrameMk id="10" creationId="{B1EC7158-AB18-000F-CD2D-1BEB4BA9C9BE}"/>
          </ac:graphicFrameMkLst>
        </pc:graphicFrameChg>
        <pc:graphicFrameChg chg="del mod">
          <ac:chgData name="Tường SKHĐT" userId="ab9568c39a88b08a" providerId="LiveId" clId="{BE80218A-C675-4EC2-AD94-24A89D98EEE1}" dt="2023-06-06T02:52:52.174" v="1243" actId="21"/>
          <ac:graphicFrameMkLst>
            <pc:docMk/>
            <pc:sldMk cId="343020626" sldId="2147473755"/>
            <ac:graphicFrameMk id="11" creationId="{85374CFF-1E4C-94C7-79FE-5AF31AB75AF2}"/>
          </ac:graphicFrameMkLst>
        </pc:graphicFrameChg>
        <pc:graphicFrameChg chg="del">
          <ac:chgData name="Tường SKHĐT" userId="ab9568c39a88b08a" providerId="LiveId" clId="{BE80218A-C675-4EC2-AD94-24A89D98EEE1}" dt="2023-06-06T02:52:57.443" v="1244"/>
          <ac:graphicFrameMkLst>
            <pc:docMk/>
            <pc:sldMk cId="343020626" sldId="2147473755"/>
            <ac:graphicFrameMk id="12" creationId="{A9B41F79-431A-CAD6-D12E-85702BB1B6C6}"/>
          </ac:graphicFrameMkLst>
        </pc:graphicFrameChg>
        <pc:graphicFrameChg chg="del mod">
          <ac:chgData name="Tường SKHĐT" userId="ab9568c39a88b08a" providerId="LiveId" clId="{BE80218A-C675-4EC2-AD94-24A89D98EEE1}" dt="2023-06-08T04:16:24.360" v="9392" actId="21"/>
          <ac:graphicFrameMkLst>
            <pc:docMk/>
            <pc:sldMk cId="343020626" sldId="2147473755"/>
            <ac:graphicFrameMk id="13" creationId="{064F88F6-DCD9-B41C-7CAA-E275BC821833}"/>
          </ac:graphicFrameMkLst>
        </pc:graphicFrameChg>
        <pc:cxnChg chg="mod">
          <ac:chgData name="Tường SKHĐT" userId="ab9568c39a88b08a" providerId="LiveId" clId="{BE80218A-C675-4EC2-AD94-24A89D98EEE1}" dt="2023-06-06T02:16:10.490" v="1105" actId="1076"/>
          <ac:cxnSpMkLst>
            <pc:docMk/>
            <pc:sldMk cId="343020626" sldId="2147473755"/>
            <ac:cxnSpMk id="5" creationId="{B3AFD0A1-EC23-2CD8-C933-80EDD073EC21}"/>
          </ac:cxnSpMkLst>
        </pc:cxnChg>
      </pc:sldChg>
      <pc:sldChg chg="del">
        <pc:chgData name="Tường SKHĐT" userId="ab9568c39a88b08a" providerId="LiveId" clId="{BE80218A-C675-4EC2-AD94-24A89D98EEE1}" dt="2023-06-05T04:28:28.723" v="1" actId="2696"/>
        <pc:sldMkLst>
          <pc:docMk/>
          <pc:sldMk cId="1826314785" sldId="2147473755"/>
        </pc:sldMkLst>
      </pc:sldChg>
      <pc:sldChg chg="delSp modSp add del mod">
        <pc:chgData name="Tường SKHĐT" userId="ab9568c39a88b08a" providerId="LiveId" clId="{BE80218A-C675-4EC2-AD94-24A89D98EEE1}" dt="2023-06-06T03:19:29.310" v="1330" actId="2696"/>
        <pc:sldMkLst>
          <pc:docMk/>
          <pc:sldMk cId="1764470730" sldId="2147473756"/>
        </pc:sldMkLst>
        <pc:graphicFrameChg chg="mod">
          <ac:chgData name="Tường SKHĐT" userId="ab9568c39a88b08a" providerId="LiveId" clId="{BE80218A-C675-4EC2-AD94-24A89D98EEE1}" dt="2023-06-06T02:18:48.146" v="1120" actId="1076"/>
          <ac:graphicFrameMkLst>
            <pc:docMk/>
            <pc:sldMk cId="1764470730" sldId="2147473756"/>
            <ac:graphicFrameMk id="4" creationId="{6C7EF0C9-EE1D-B5FA-D635-BB517D0F253B}"/>
          </ac:graphicFrameMkLst>
        </pc:graphicFrameChg>
        <pc:graphicFrameChg chg="del">
          <ac:chgData name="Tường SKHĐT" userId="ab9568c39a88b08a" providerId="LiveId" clId="{BE80218A-C675-4EC2-AD94-24A89D98EEE1}" dt="2023-06-06T02:18:04.514" v="1115" actId="21"/>
          <ac:graphicFrameMkLst>
            <pc:docMk/>
            <pc:sldMk cId="1764470730" sldId="2147473756"/>
            <ac:graphicFrameMk id="7" creationId="{FE3FFE1B-175D-55EF-4774-BC0D059B0060}"/>
          </ac:graphicFrameMkLst>
        </pc:graphicFrameChg>
      </pc:sldChg>
      <pc:sldChg chg="del">
        <pc:chgData name="Tường SKHĐT" userId="ab9568c39a88b08a" providerId="LiveId" clId="{BE80218A-C675-4EC2-AD94-24A89D98EEE1}" dt="2023-06-05T04:29:23.093" v="2" actId="2696"/>
        <pc:sldMkLst>
          <pc:docMk/>
          <pc:sldMk cId="2627039055" sldId="2147473756"/>
        </pc:sldMkLst>
      </pc:sldChg>
      <pc:sldChg chg="delSp modSp add del mod">
        <pc:chgData name="Tường SKHĐT" userId="ab9568c39a88b08a" providerId="LiveId" clId="{BE80218A-C675-4EC2-AD94-24A89D98EEE1}" dt="2023-06-06T03:19:29.310" v="1330" actId="2696"/>
        <pc:sldMkLst>
          <pc:docMk/>
          <pc:sldMk cId="4169077682" sldId="2147473757"/>
        </pc:sldMkLst>
        <pc:graphicFrameChg chg="del mod">
          <ac:chgData name="Tường SKHĐT" userId="ab9568c39a88b08a" providerId="LiveId" clId="{BE80218A-C675-4EC2-AD94-24A89D98EEE1}" dt="2023-06-06T02:18:31.170" v="1119"/>
          <ac:graphicFrameMkLst>
            <pc:docMk/>
            <pc:sldMk cId="4169077682" sldId="2147473757"/>
            <ac:graphicFrameMk id="4" creationId="{04EC9805-83CF-7636-1772-EAA5ED5A39A5}"/>
          </ac:graphicFrameMkLst>
        </pc:graphicFrameChg>
        <pc:graphicFrameChg chg="mod">
          <ac:chgData name="Tường SKHĐT" userId="ab9568c39a88b08a" providerId="LiveId" clId="{BE80218A-C675-4EC2-AD94-24A89D98EEE1}" dt="2023-06-06T02:19:11.300" v="1121" actId="1076"/>
          <ac:graphicFrameMkLst>
            <pc:docMk/>
            <pc:sldMk cId="4169077682" sldId="2147473757"/>
            <ac:graphicFrameMk id="6" creationId="{7837E8F9-FA8E-E582-2A17-4181960F6115}"/>
          </ac:graphicFrameMkLst>
        </pc:graphicFrameChg>
        <pc:graphicFrameChg chg="del">
          <ac:chgData name="Tường SKHĐT" userId="ab9568c39a88b08a" providerId="LiveId" clId="{BE80218A-C675-4EC2-AD94-24A89D98EEE1}" dt="2023-06-06T02:18:06.884" v="1116" actId="21"/>
          <ac:graphicFrameMkLst>
            <pc:docMk/>
            <pc:sldMk cId="4169077682" sldId="2147473757"/>
            <ac:graphicFrameMk id="7" creationId="{FE3FFE1B-175D-55EF-4774-BC0D059B0060}"/>
          </ac:graphicFrameMkLst>
        </pc:graphicFrameChg>
      </pc:sldChg>
      <pc:sldChg chg="addSp delSp modSp add mod">
        <pc:chgData name="Tường SKHĐT" userId="ab9568c39a88b08a" providerId="LiveId" clId="{BE80218A-C675-4EC2-AD94-24A89D98EEE1}" dt="2023-06-06T02:27:55.100" v="1134" actId="14100"/>
        <pc:sldMkLst>
          <pc:docMk/>
          <pc:sldMk cId="386469802" sldId="2147473758"/>
        </pc:sldMkLst>
        <pc:graphicFrameChg chg="del mod">
          <ac:chgData name="Tường SKHĐT" userId="ab9568c39a88b08a" providerId="LiveId" clId="{BE80218A-C675-4EC2-AD94-24A89D98EEE1}" dt="2023-06-06T02:27:18.119" v="1126" actId="21"/>
          <ac:graphicFrameMkLst>
            <pc:docMk/>
            <pc:sldMk cId="386469802" sldId="2147473758"/>
            <ac:graphicFrameMk id="2" creationId="{1B2412BD-5748-B79C-C417-2A3FCFDE6996}"/>
          </ac:graphicFrameMkLst>
        </pc:graphicFrameChg>
        <pc:graphicFrameChg chg="mod">
          <ac:chgData name="Tường SKHĐT" userId="ab9568c39a88b08a" providerId="LiveId" clId="{BE80218A-C675-4EC2-AD94-24A89D98EEE1}" dt="2023-06-06T02:27:27.178" v="1127" actId="1076"/>
          <ac:graphicFrameMkLst>
            <pc:docMk/>
            <pc:sldMk cId="386469802" sldId="2147473758"/>
            <ac:graphicFrameMk id="3" creationId="{9161E749-BAFA-2F4E-E9B8-06971E218D44}"/>
          </ac:graphicFrameMkLst>
        </pc:graphicFrameChg>
        <pc:graphicFrameChg chg="add mod modGraphic">
          <ac:chgData name="Tường SKHĐT" userId="ab9568c39a88b08a" providerId="LiveId" clId="{BE80218A-C675-4EC2-AD94-24A89D98EEE1}" dt="2023-06-06T02:27:55.100" v="1134" actId="14100"/>
          <ac:graphicFrameMkLst>
            <pc:docMk/>
            <pc:sldMk cId="386469802" sldId="2147473758"/>
            <ac:graphicFrameMk id="4" creationId="{DDDE20E6-5F04-B963-24B0-A55C08273FC7}"/>
          </ac:graphicFrameMkLst>
        </pc:graphicFrameChg>
        <pc:graphicFrameChg chg="del">
          <ac:chgData name="Tường SKHĐT" userId="ab9568c39a88b08a" providerId="LiveId" clId="{BE80218A-C675-4EC2-AD94-24A89D98EEE1}" dt="2023-06-06T02:26:44.997" v="1123" actId="21"/>
          <ac:graphicFrameMkLst>
            <pc:docMk/>
            <pc:sldMk cId="386469802" sldId="2147473758"/>
            <ac:graphicFrameMk id="5" creationId="{4F59E573-56EE-83D4-0602-CC0366BF17C8}"/>
          </ac:graphicFrameMkLst>
        </pc:graphicFrameChg>
        <pc:graphicFrameChg chg="del">
          <ac:chgData name="Tường SKHĐT" userId="ab9568c39a88b08a" providerId="LiveId" clId="{BE80218A-C675-4EC2-AD94-24A89D98EEE1}" dt="2023-06-06T02:26:46.756" v="1124" actId="21"/>
          <ac:graphicFrameMkLst>
            <pc:docMk/>
            <pc:sldMk cId="386469802" sldId="2147473758"/>
            <ac:graphicFrameMk id="6" creationId="{47027231-95EF-C8CE-4215-B126B807487B}"/>
          </ac:graphicFrameMkLst>
        </pc:graphicFrameChg>
      </pc:sldChg>
      <pc:sldChg chg="delSp modSp add mod">
        <pc:chgData name="Tường SKHĐT" userId="ab9568c39a88b08a" providerId="LiveId" clId="{BE80218A-C675-4EC2-AD94-24A89D98EEE1}" dt="2023-06-08T07:21:13.039" v="9430" actId="1076"/>
        <pc:sldMkLst>
          <pc:docMk/>
          <pc:sldMk cId="3587433405" sldId="2147473759"/>
        </pc:sldMkLst>
        <pc:spChg chg="mod">
          <ac:chgData name="Tường SKHĐT" userId="ab9568c39a88b08a" providerId="LiveId" clId="{BE80218A-C675-4EC2-AD94-24A89D98EEE1}" dt="2023-06-08T04:22:00.918" v="9416" actId="1076"/>
          <ac:spMkLst>
            <pc:docMk/>
            <pc:sldMk cId="3587433405" sldId="2147473759"/>
            <ac:spMk id="7" creationId="{C04F4D96-45AD-953D-5897-218BC956CD36}"/>
          </ac:spMkLst>
        </pc:spChg>
        <pc:graphicFrameChg chg="del mod">
          <ac:chgData name="Tường SKHĐT" userId="ab9568c39a88b08a" providerId="LiveId" clId="{BE80218A-C675-4EC2-AD94-24A89D98EEE1}" dt="2023-06-08T07:20:43.214" v="9429" actId="21"/>
          <ac:graphicFrameMkLst>
            <pc:docMk/>
            <pc:sldMk cId="3587433405" sldId="2147473759"/>
            <ac:graphicFrameMk id="2" creationId="{6F8F49D4-2436-117D-B1E9-E215BEAA43C1}"/>
          </ac:graphicFrameMkLst>
        </pc:graphicFrameChg>
        <pc:graphicFrameChg chg="del mod">
          <ac:chgData name="Tường SKHĐT" userId="ab9568c39a88b08a" providerId="LiveId" clId="{BE80218A-C675-4EC2-AD94-24A89D98EEE1}" dt="2023-06-06T02:31:45.914" v="1139" actId="21"/>
          <ac:graphicFrameMkLst>
            <pc:docMk/>
            <pc:sldMk cId="3587433405" sldId="2147473759"/>
            <ac:graphicFrameMk id="2" creationId="{F0EEF286-BB80-E94B-3E57-F0396FE36E4F}"/>
          </ac:graphicFrameMkLst>
        </pc:graphicFrameChg>
        <pc:graphicFrameChg chg="mod">
          <ac:chgData name="Tường SKHĐT" userId="ab9568c39a88b08a" providerId="LiveId" clId="{BE80218A-C675-4EC2-AD94-24A89D98EEE1}" dt="2023-06-08T07:21:13.039" v="9430" actId="1076"/>
          <ac:graphicFrameMkLst>
            <pc:docMk/>
            <pc:sldMk cId="3587433405" sldId="2147473759"/>
            <ac:graphicFrameMk id="3" creationId="{2760F815-951E-FC06-501B-7656495C350C}"/>
          </ac:graphicFrameMkLst>
        </pc:graphicFrameChg>
        <pc:graphicFrameChg chg="del mod">
          <ac:chgData name="Tường SKHĐT" userId="ab9568c39a88b08a" providerId="LiveId" clId="{BE80218A-C675-4EC2-AD94-24A89D98EEE1}" dt="2023-06-08T04:21:47.012" v="9414" actId="21"/>
          <ac:graphicFrameMkLst>
            <pc:docMk/>
            <pc:sldMk cId="3587433405" sldId="2147473759"/>
            <ac:graphicFrameMk id="4" creationId="{1C3949F6-165B-37DA-0AD7-A2E90FD73E1C}"/>
          </ac:graphicFrameMkLst>
        </pc:graphicFrameChg>
        <pc:graphicFrameChg chg="del">
          <ac:chgData name="Tường SKHĐT" userId="ab9568c39a88b08a" providerId="LiveId" clId="{BE80218A-C675-4EC2-AD94-24A89D98EEE1}" dt="2023-06-06T02:28:53.403" v="1137" actId="21"/>
          <ac:graphicFrameMkLst>
            <pc:docMk/>
            <pc:sldMk cId="3587433405" sldId="2147473759"/>
            <ac:graphicFrameMk id="8" creationId="{B5E5335D-2EED-82AF-3A59-FAE8BB94EAE1}"/>
          </ac:graphicFrameMkLst>
        </pc:graphicFrameChg>
        <pc:picChg chg="del">
          <ac:chgData name="Tường SKHĐT" userId="ab9568c39a88b08a" providerId="LiveId" clId="{BE80218A-C675-4EC2-AD94-24A89D98EEE1}" dt="2023-06-06T02:28:51.630" v="1136" actId="21"/>
          <ac:picMkLst>
            <pc:docMk/>
            <pc:sldMk cId="3587433405" sldId="2147473759"/>
            <ac:picMk id="3" creationId="{0B7CA021-09F3-1F33-484C-C8E22C0125A5}"/>
          </ac:picMkLst>
        </pc:picChg>
      </pc:sldChg>
      <pc:sldChg chg="delSp modSp add mod">
        <pc:chgData name="Tường SKHĐT" userId="ab9568c39a88b08a" providerId="LiveId" clId="{BE80218A-C675-4EC2-AD94-24A89D98EEE1}" dt="2023-06-08T07:23:09.995" v="9435" actId="1076"/>
        <pc:sldMkLst>
          <pc:docMk/>
          <pc:sldMk cId="3141092668" sldId="2147473760"/>
        </pc:sldMkLst>
        <pc:graphicFrameChg chg="del mod">
          <ac:chgData name="Tường SKHĐT" userId="ab9568c39a88b08a" providerId="LiveId" clId="{BE80218A-C675-4EC2-AD94-24A89D98EEE1}" dt="2023-06-08T07:23:01.470" v="9434" actId="21"/>
          <ac:graphicFrameMkLst>
            <pc:docMk/>
            <pc:sldMk cId="3141092668" sldId="2147473760"/>
            <ac:graphicFrameMk id="2" creationId="{BCE5C303-D171-1C6C-BB48-0A21E49A6976}"/>
          </ac:graphicFrameMkLst>
        </pc:graphicFrameChg>
        <pc:graphicFrameChg chg="mod">
          <ac:chgData name="Tường SKHĐT" userId="ab9568c39a88b08a" providerId="LiveId" clId="{BE80218A-C675-4EC2-AD94-24A89D98EEE1}" dt="2023-06-08T07:23:09.995" v="9435" actId="1076"/>
          <ac:graphicFrameMkLst>
            <pc:docMk/>
            <pc:sldMk cId="3141092668" sldId="2147473760"/>
            <ac:graphicFrameMk id="3" creationId="{D474D3A0-22D3-0099-7CE5-D9A299F3D372}"/>
          </ac:graphicFrameMkLst>
        </pc:graphicFrameChg>
        <pc:picChg chg="del">
          <ac:chgData name="Tường SKHĐT" userId="ab9568c39a88b08a" providerId="LiveId" clId="{BE80218A-C675-4EC2-AD94-24A89D98EEE1}" dt="2023-06-06T02:32:54.522" v="1142" actId="478"/>
          <ac:picMkLst>
            <pc:docMk/>
            <pc:sldMk cId="3141092668" sldId="2147473760"/>
            <ac:picMk id="5" creationId="{D7D192ED-A090-3C6F-3CA7-2C3CDBC37FF3}"/>
          </ac:picMkLst>
        </pc:picChg>
        <pc:picChg chg="del">
          <ac:chgData name="Tường SKHĐT" userId="ab9568c39a88b08a" providerId="LiveId" clId="{BE80218A-C675-4EC2-AD94-24A89D98EEE1}" dt="2023-06-06T02:32:54.522" v="1142" actId="478"/>
          <ac:picMkLst>
            <pc:docMk/>
            <pc:sldMk cId="3141092668" sldId="2147473760"/>
            <ac:picMk id="7" creationId="{455CD825-D54D-FCEA-81AF-11182774D584}"/>
          </ac:picMkLst>
        </pc:picChg>
        <pc:picChg chg="del">
          <ac:chgData name="Tường SKHĐT" userId="ab9568c39a88b08a" providerId="LiveId" clId="{BE80218A-C675-4EC2-AD94-24A89D98EEE1}" dt="2023-06-06T02:32:54.522" v="1142" actId="478"/>
          <ac:picMkLst>
            <pc:docMk/>
            <pc:sldMk cId="3141092668" sldId="2147473760"/>
            <ac:picMk id="9" creationId="{7246F3BF-F456-CF2C-6AA7-82B046A0EB87}"/>
          </ac:picMkLst>
        </pc:picChg>
      </pc:sldChg>
      <pc:sldChg chg="addSp delSp modSp add del mod">
        <pc:chgData name="Tường SKHĐT" userId="ab9568c39a88b08a" providerId="LiveId" clId="{BE80218A-C675-4EC2-AD94-24A89D98EEE1}" dt="2023-06-06T02:54:02.109" v="1247" actId="2696"/>
        <pc:sldMkLst>
          <pc:docMk/>
          <pc:sldMk cId="3087959481" sldId="2147473761"/>
        </pc:sldMkLst>
        <pc:spChg chg="mod">
          <ac:chgData name="Tường SKHĐT" userId="ab9568c39a88b08a" providerId="LiveId" clId="{BE80218A-C675-4EC2-AD94-24A89D98EEE1}" dt="2023-06-06T02:36:45.266" v="1214" actId="1076"/>
          <ac:spMkLst>
            <pc:docMk/>
            <pc:sldMk cId="3087959481" sldId="2147473761"/>
            <ac:spMk id="2" creationId="{452B1F82-822B-EF70-0133-F9BAD474E8D9}"/>
          </ac:spMkLst>
        </pc:spChg>
        <pc:graphicFrameChg chg="add del mod">
          <ac:chgData name="Tường SKHĐT" userId="ab9568c39a88b08a" providerId="LiveId" clId="{BE80218A-C675-4EC2-AD94-24A89D98EEE1}" dt="2023-06-06T02:35:07.128" v="1147"/>
          <ac:graphicFrameMkLst>
            <pc:docMk/>
            <pc:sldMk cId="3087959481" sldId="2147473761"/>
            <ac:graphicFrameMk id="4" creationId="{FE14CC11-D2E1-1DA4-E9A9-A2751EFE3C6C}"/>
          </ac:graphicFrameMkLst>
        </pc:graphicFrameChg>
        <pc:graphicFrameChg chg="del">
          <ac:chgData name="Tường SKHĐT" userId="ab9568c39a88b08a" providerId="LiveId" clId="{BE80218A-C675-4EC2-AD94-24A89D98EEE1}" dt="2023-06-06T02:33:38.890" v="1145" actId="21"/>
          <ac:graphicFrameMkLst>
            <pc:docMk/>
            <pc:sldMk cId="3087959481" sldId="2147473761"/>
            <ac:graphicFrameMk id="6" creationId="{7837E8F9-FA8E-E582-2A17-4181960F6115}"/>
          </ac:graphicFrameMkLst>
        </pc:graphicFrameChg>
        <pc:graphicFrameChg chg="del mod">
          <ac:chgData name="Tường SKHĐT" userId="ab9568c39a88b08a" providerId="LiveId" clId="{BE80218A-C675-4EC2-AD94-24A89D98EEE1}" dt="2023-06-06T02:35:23.029" v="1149" actId="21"/>
          <ac:graphicFrameMkLst>
            <pc:docMk/>
            <pc:sldMk cId="3087959481" sldId="2147473761"/>
            <ac:graphicFrameMk id="7" creationId="{BE62439C-8D7F-3C49-7CE3-77C855AF8E7A}"/>
          </ac:graphicFrameMkLst>
        </pc:graphicFrameChg>
        <pc:graphicFrameChg chg="add del mod">
          <ac:chgData name="Tường SKHĐT" userId="ab9568c39a88b08a" providerId="LiveId" clId="{BE80218A-C675-4EC2-AD94-24A89D98EEE1}" dt="2023-06-06T02:35:26.848" v="1151"/>
          <ac:graphicFrameMkLst>
            <pc:docMk/>
            <pc:sldMk cId="3087959481" sldId="2147473761"/>
            <ac:graphicFrameMk id="9" creationId="{CC406B26-1BCB-A221-A1E2-2AFB3D7F611D}"/>
          </ac:graphicFrameMkLst>
        </pc:graphicFrameChg>
        <pc:graphicFrameChg chg="mod">
          <ac:chgData name="Tường SKHĐT" userId="ab9568c39a88b08a" providerId="LiveId" clId="{BE80218A-C675-4EC2-AD94-24A89D98EEE1}" dt="2023-06-06T02:35:54.371" v="1155" actId="1076"/>
          <ac:graphicFrameMkLst>
            <pc:docMk/>
            <pc:sldMk cId="3087959481" sldId="2147473761"/>
            <ac:graphicFrameMk id="10" creationId="{4ED5CA74-7A73-D5D2-5831-937CD495A474}"/>
          </ac:graphicFrameMkLst>
        </pc:graphicFrameChg>
      </pc:sldChg>
      <pc:sldChg chg="delSp modSp add del mod">
        <pc:chgData name="Tường SKHĐT" userId="ab9568c39a88b08a" providerId="LiveId" clId="{BE80218A-C675-4EC2-AD94-24A89D98EEE1}" dt="2023-06-06T02:54:02.109" v="1247" actId="2696"/>
        <pc:sldMkLst>
          <pc:docMk/>
          <pc:sldMk cId="1782166848" sldId="2147473762"/>
        </pc:sldMkLst>
        <pc:spChg chg="mod">
          <ac:chgData name="Tường SKHĐT" userId="ab9568c39a88b08a" providerId="LiveId" clId="{BE80218A-C675-4EC2-AD94-24A89D98EEE1}" dt="2023-06-06T02:38:06.245" v="1229" actId="1076"/>
          <ac:spMkLst>
            <pc:docMk/>
            <pc:sldMk cId="1782166848" sldId="2147473762"/>
            <ac:spMk id="2" creationId="{452B1F82-822B-EF70-0133-F9BAD474E8D9}"/>
          </ac:spMkLst>
        </pc:spChg>
        <pc:graphicFrameChg chg="mod">
          <ac:chgData name="Tường SKHĐT" userId="ab9568c39a88b08a" providerId="LiveId" clId="{BE80218A-C675-4EC2-AD94-24A89D98EEE1}" dt="2023-06-06T02:37:53.619" v="1219" actId="1076"/>
          <ac:graphicFrameMkLst>
            <pc:docMk/>
            <pc:sldMk cId="1782166848" sldId="2147473762"/>
            <ac:graphicFrameMk id="4" creationId="{9E1BAABF-75B5-D4AF-4780-F6A9C50AC043}"/>
          </ac:graphicFrameMkLst>
        </pc:graphicFrameChg>
        <pc:graphicFrameChg chg="del">
          <ac:chgData name="Tường SKHĐT" userId="ab9568c39a88b08a" providerId="LiveId" clId="{BE80218A-C675-4EC2-AD94-24A89D98EEE1}" dt="2023-06-06T02:37:18.195" v="1216" actId="21"/>
          <ac:graphicFrameMkLst>
            <pc:docMk/>
            <pc:sldMk cId="1782166848" sldId="2147473762"/>
            <ac:graphicFrameMk id="10" creationId="{4ED5CA74-7A73-D5D2-5831-937CD495A474}"/>
          </ac:graphicFrameMkLst>
        </pc:graphicFrameChg>
      </pc:sldChg>
      <pc:sldChg chg="add del">
        <pc:chgData name="Tường SKHĐT" userId="ab9568c39a88b08a" providerId="LiveId" clId="{BE80218A-C675-4EC2-AD94-24A89D98EEE1}" dt="2023-06-06T03:19:29.310" v="1330" actId="2696"/>
        <pc:sldMkLst>
          <pc:docMk/>
          <pc:sldMk cId="1932453794" sldId="2147473763"/>
        </pc:sldMkLst>
      </pc:sldChg>
      <pc:sldChg chg="add del">
        <pc:chgData name="Tường SKHĐT" userId="ab9568c39a88b08a" providerId="LiveId" clId="{BE80218A-C675-4EC2-AD94-24A89D98EEE1}" dt="2023-06-06T02:53:26.693" v="1246" actId="2696"/>
        <pc:sldMkLst>
          <pc:docMk/>
          <pc:sldMk cId="86731802" sldId="2147473764"/>
        </pc:sldMkLst>
      </pc:sldChg>
      <pc:sldChg chg="add del">
        <pc:chgData name="Tường SKHĐT" userId="ab9568c39a88b08a" providerId="LiveId" clId="{BE80218A-C675-4EC2-AD94-24A89D98EEE1}" dt="2023-06-06T03:17:17.876" v="1329" actId="2696"/>
        <pc:sldMkLst>
          <pc:docMk/>
          <pc:sldMk cId="3945257551" sldId="2147473765"/>
        </pc:sldMkLst>
      </pc:sldChg>
      <pc:sldChg chg="addSp delSp modSp add mod">
        <pc:chgData name="Tường SKHĐT" userId="ab9568c39a88b08a" providerId="LiveId" clId="{BE80218A-C675-4EC2-AD94-24A89D98EEE1}" dt="2023-06-06T03:11:55.354" v="1310" actId="14100"/>
        <pc:sldMkLst>
          <pc:docMk/>
          <pc:sldMk cId="4255944904" sldId="2147473766"/>
        </pc:sldMkLst>
        <pc:spChg chg="del">
          <ac:chgData name="Tường SKHĐT" userId="ab9568c39a88b08a" providerId="LiveId" clId="{BE80218A-C675-4EC2-AD94-24A89D98EEE1}" dt="2023-06-06T03:10:04.576" v="1273" actId="21"/>
          <ac:spMkLst>
            <pc:docMk/>
            <pc:sldMk cId="4255944904" sldId="2147473766"/>
            <ac:spMk id="2" creationId="{452B1F82-822B-EF70-0133-F9BAD474E8D9}"/>
          </ac:spMkLst>
        </pc:spChg>
        <pc:graphicFrameChg chg="add mod">
          <ac:chgData name="Tường SKHĐT" userId="ab9568c39a88b08a" providerId="LiveId" clId="{BE80218A-C675-4EC2-AD94-24A89D98EEE1}" dt="2023-06-06T03:11:55.354" v="1310" actId="14100"/>
          <ac:graphicFrameMkLst>
            <pc:docMk/>
            <pc:sldMk cId="4255944904" sldId="2147473766"/>
            <ac:graphicFrameMk id="4" creationId="{365C2945-1321-97F7-6CEB-6B75DD3AAE2D}"/>
          </ac:graphicFrameMkLst>
        </pc:graphicFrameChg>
        <pc:graphicFrameChg chg="del">
          <ac:chgData name="Tường SKHĐT" userId="ab9568c39a88b08a" providerId="LiveId" clId="{BE80218A-C675-4EC2-AD94-24A89D98EEE1}" dt="2023-06-06T03:09:27.436" v="1261" actId="21"/>
          <ac:graphicFrameMkLst>
            <pc:docMk/>
            <pc:sldMk cId="4255944904" sldId="2147473766"/>
            <ac:graphicFrameMk id="13" creationId="{064F88F6-DCD9-B41C-7CAA-E275BC821833}"/>
          </ac:graphicFrameMkLst>
        </pc:graphicFrameChg>
      </pc:sldChg>
      <pc:sldChg chg="addSp delSp modSp add mod">
        <pc:chgData name="Tường SKHĐT" userId="ab9568c39a88b08a" providerId="LiveId" clId="{BE80218A-C675-4EC2-AD94-24A89D98EEE1}" dt="2023-06-06T03:17:09.860" v="1328" actId="1076"/>
        <pc:sldMkLst>
          <pc:docMk/>
          <pc:sldMk cId="2518956890" sldId="2147473767"/>
        </pc:sldMkLst>
        <pc:spChg chg="del">
          <ac:chgData name="Tường SKHĐT" userId="ab9568c39a88b08a" providerId="LiveId" clId="{BE80218A-C675-4EC2-AD94-24A89D98EEE1}" dt="2023-06-06T03:16:42.867" v="1316" actId="21"/>
          <ac:spMkLst>
            <pc:docMk/>
            <pc:sldMk cId="2518956890" sldId="2147473767"/>
            <ac:spMk id="2" creationId="{452B1F82-822B-EF70-0133-F9BAD474E8D9}"/>
          </ac:spMkLst>
        </pc:spChg>
        <pc:graphicFrameChg chg="del">
          <ac:chgData name="Tường SKHĐT" userId="ab9568c39a88b08a" providerId="LiveId" clId="{BE80218A-C675-4EC2-AD94-24A89D98EEE1}" dt="2023-06-06T03:16:31.342" v="1312" actId="21"/>
          <ac:graphicFrameMkLst>
            <pc:docMk/>
            <pc:sldMk cId="2518956890" sldId="2147473767"/>
            <ac:graphicFrameMk id="4" creationId="{9E1BAABF-75B5-D4AF-4780-F6A9C50AC043}"/>
          </ac:graphicFrameMkLst>
        </pc:graphicFrameChg>
        <pc:graphicFrameChg chg="add mod">
          <ac:chgData name="Tường SKHĐT" userId="ab9568c39a88b08a" providerId="LiveId" clId="{BE80218A-C675-4EC2-AD94-24A89D98EEE1}" dt="2023-06-06T03:17:09.860" v="1328" actId="1076"/>
          <ac:graphicFrameMkLst>
            <pc:docMk/>
            <pc:sldMk cId="2518956890" sldId="2147473767"/>
            <ac:graphicFrameMk id="6" creationId="{D930E6BF-6104-4528-12DB-4FA32E5E68E2}"/>
          </ac:graphicFrameMkLst>
        </pc:graphicFrameChg>
      </pc:sldChg>
      <pc:sldChg chg="modSp add mod">
        <pc:chgData name="Tường SKHĐT" userId="ab9568c39a88b08a" providerId="LiveId" clId="{BE80218A-C675-4EC2-AD94-24A89D98EEE1}" dt="2023-06-06T03:22:50.243" v="1369" actId="20577"/>
        <pc:sldMkLst>
          <pc:docMk/>
          <pc:sldMk cId="1424456270" sldId="2147473768"/>
        </pc:sldMkLst>
        <pc:graphicFrameChg chg="mod modGraphic">
          <ac:chgData name="Tường SKHĐT" userId="ab9568c39a88b08a" providerId="LiveId" clId="{BE80218A-C675-4EC2-AD94-24A89D98EEE1}" dt="2023-06-06T03:22:50.243" v="1369" actId="20577"/>
          <ac:graphicFrameMkLst>
            <pc:docMk/>
            <pc:sldMk cId="1424456270" sldId="2147473768"/>
            <ac:graphicFrameMk id="9" creationId="{0FC7DBA8-03B5-1D5D-B7A1-68AA6F62DF7E}"/>
          </ac:graphicFrameMkLst>
        </pc:graphicFrameChg>
      </pc:sldChg>
      <pc:sldChg chg="addSp delSp modSp add mod">
        <pc:chgData name="Tường SKHĐT" userId="ab9568c39a88b08a" providerId="LiveId" clId="{BE80218A-C675-4EC2-AD94-24A89D98EEE1}" dt="2023-06-06T03:21:34.469" v="1352"/>
        <pc:sldMkLst>
          <pc:docMk/>
          <pc:sldMk cId="2280649645" sldId="2147473769"/>
        </pc:sldMkLst>
        <pc:spChg chg="del">
          <ac:chgData name="Tường SKHĐT" userId="ab9568c39a88b08a" providerId="LiveId" clId="{BE80218A-C675-4EC2-AD94-24A89D98EEE1}" dt="2023-06-06T03:21:28.261" v="1349" actId="21"/>
          <ac:spMkLst>
            <pc:docMk/>
            <pc:sldMk cId="2280649645" sldId="2147473769"/>
            <ac:spMk id="2" creationId="{EE8CB48F-970D-5112-81B2-029AA760C6DA}"/>
          </ac:spMkLst>
        </pc:spChg>
        <pc:spChg chg="add del mod">
          <ac:chgData name="Tường SKHĐT" userId="ab9568c39a88b08a" providerId="LiveId" clId="{BE80218A-C675-4EC2-AD94-24A89D98EEE1}" dt="2023-06-06T03:21:30.441" v="1351"/>
          <ac:spMkLst>
            <pc:docMk/>
            <pc:sldMk cId="2280649645" sldId="2147473769"/>
            <ac:spMk id="3" creationId="{429B8850-82A1-4302-7947-2086A99D3144}"/>
          </ac:spMkLst>
        </pc:spChg>
        <pc:spChg chg="add mod">
          <ac:chgData name="Tường SKHĐT" userId="ab9568c39a88b08a" providerId="LiveId" clId="{BE80218A-C675-4EC2-AD94-24A89D98EEE1}" dt="2023-06-06T03:21:34.469" v="1352"/>
          <ac:spMkLst>
            <pc:docMk/>
            <pc:sldMk cId="2280649645" sldId="2147473769"/>
            <ac:spMk id="4" creationId="{3DAAD17F-4A57-07B0-72E4-C7D0722B854E}"/>
          </ac:spMkLst>
        </pc:spChg>
      </pc:sldChg>
      <pc:sldChg chg="modSp add mod">
        <pc:chgData name="Tường SKHĐT" userId="ab9568c39a88b08a" providerId="LiveId" clId="{BE80218A-C675-4EC2-AD94-24A89D98EEE1}" dt="2023-06-06T03:23:51.747" v="1371" actId="1076"/>
        <pc:sldMkLst>
          <pc:docMk/>
          <pc:sldMk cId="4140657677" sldId="2147473770"/>
        </pc:sldMkLst>
        <pc:spChg chg="mod">
          <ac:chgData name="Tường SKHĐT" userId="ab9568c39a88b08a" providerId="LiveId" clId="{BE80218A-C675-4EC2-AD94-24A89D98EEE1}" dt="2023-06-06T03:23:51.747" v="1371" actId="1076"/>
          <ac:spMkLst>
            <pc:docMk/>
            <pc:sldMk cId="4140657677" sldId="2147473770"/>
            <ac:spMk id="2" creationId="{85B15777-9A9B-83C0-EAE1-18A3DD8356D6}"/>
          </ac:spMkLst>
        </pc:spChg>
      </pc:sldChg>
      <pc:sldChg chg="add del">
        <pc:chgData name="Tường SKHĐT" userId="ab9568c39a88b08a" providerId="LiveId" clId="{BE80218A-C675-4EC2-AD94-24A89D98EEE1}" dt="2023-06-06T04:12:05.927" v="1431" actId="2696"/>
        <pc:sldMkLst>
          <pc:docMk/>
          <pc:sldMk cId="1021027361" sldId="2147473771"/>
        </pc:sldMkLst>
      </pc:sldChg>
      <pc:sldChg chg="addSp delSp modSp add del mod">
        <pc:chgData name="Tường SKHĐT" userId="ab9568c39a88b08a" providerId="LiveId" clId="{BE80218A-C675-4EC2-AD94-24A89D98EEE1}" dt="2023-06-08T07:38:24.734" v="9487" actId="2696"/>
        <pc:sldMkLst>
          <pc:docMk/>
          <pc:sldMk cId="2475946753" sldId="2147473771"/>
        </pc:sldMkLst>
        <pc:spChg chg="add mod">
          <ac:chgData name="Tường SKHĐT" userId="ab9568c39a88b08a" providerId="LiveId" clId="{BE80218A-C675-4EC2-AD94-24A89D98EEE1}" dt="2023-06-08T02:58:58.849" v="9164" actId="1076"/>
          <ac:spMkLst>
            <pc:docMk/>
            <pc:sldMk cId="2475946753" sldId="2147473771"/>
            <ac:spMk id="2" creationId="{BB7D8E9C-B3F6-DD25-25B6-76818EE92AE6}"/>
          </ac:spMkLst>
        </pc:spChg>
        <pc:spChg chg="del mod">
          <ac:chgData name="Tường SKHĐT" userId="ab9568c39a88b08a" providerId="LiveId" clId="{BE80218A-C675-4EC2-AD94-24A89D98EEE1}" dt="2023-06-08T00:27:45.389" v="5302" actId="21"/>
          <ac:spMkLst>
            <pc:docMk/>
            <pc:sldMk cId="2475946753" sldId="2147473771"/>
            <ac:spMk id="6" creationId="{AD8FCB44-5401-4810-551D-B0072A6956BA}"/>
          </ac:spMkLst>
        </pc:spChg>
        <pc:graphicFrameChg chg="del mod modGraphic">
          <ac:chgData name="Tường SKHĐT" userId="ab9568c39a88b08a" providerId="LiveId" clId="{BE80218A-C675-4EC2-AD94-24A89D98EEE1}" dt="2023-06-07T08:28:49.368" v="2678" actId="21"/>
          <ac:graphicFrameMkLst>
            <pc:docMk/>
            <pc:sldMk cId="2475946753" sldId="2147473771"/>
            <ac:graphicFrameMk id="2" creationId="{3E45EC01-8919-CDD1-BF49-FD790779B8D8}"/>
          </ac:graphicFrameMkLst>
        </pc:graphicFrameChg>
        <pc:graphicFrameChg chg="add mod modGraphic">
          <ac:chgData name="Tường SKHĐT" userId="ab9568c39a88b08a" providerId="LiveId" clId="{BE80218A-C675-4EC2-AD94-24A89D98EEE1}" dt="2023-06-08T07:22:05.105" v="9432" actId="113"/>
          <ac:graphicFrameMkLst>
            <pc:docMk/>
            <pc:sldMk cId="2475946753" sldId="2147473771"/>
            <ac:graphicFrameMk id="3" creationId="{2B60E389-3C15-E216-2343-FACD1755B5AD}"/>
          </ac:graphicFrameMkLst>
        </pc:graphicFrameChg>
        <pc:graphicFrameChg chg="del mod">
          <ac:chgData name="Tường SKHĐT" userId="ab9568c39a88b08a" providerId="LiveId" clId="{BE80218A-C675-4EC2-AD94-24A89D98EEE1}" dt="2023-06-08T00:26:58.215" v="5168" actId="21"/>
          <ac:graphicFrameMkLst>
            <pc:docMk/>
            <pc:sldMk cId="2475946753" sldId="2147473771"/>
            <ac:graphicFrameMk id="5" creationId="{A12A8C36-ABD5-9F37-3859-60C635D270CE}"/>
          </ac:graphicFrameMkLst>
        </pc:graphicFrameChg>
      </pc:sldChg>
      <pc:sldChg chg="addSp delSp modSp add mod">
        <pc:chgData name="Tường SKHĐT" userId="ab9568c39a88b08a" providerId="LiveId" clId="{BE80218A-C675-4EC2-AD94-24A89D98EEE1}" dt="2023-06-07T09:53:29.411" v="3532" actId="14100"/>
        <pc:sldMkLst>
          <pc:docMk/>
          <pc:sldMk cId="234700294" sldId="2147473772"/>
        </pc:sldMkLst>
        <pc:spChg chg="del">
          <ac:chgData name="Tường SKHĐT" userId="ab9568c39a88b08a" providerId="LiveId" clId="{BE80218A-C675-4EC2-AD94-24A89D98EEE1}" dt="2023-06-06T04:16:06.937" v="1543" actId="21"/>
          <ac:spMkLst>
            <pc:docMk/>
            <pc:sldMk cId="234700294" sldId="2147473772"/>
            <ac:spMk id="3" creationId="{9363D8CF-2C85-3BF9-B7BB-9B85B15F2F06}"/>
          </ac:spMkLst>
        </pc:spChg>
        <pc:spChg chg="add mod">
          <ac:chgData name="Tường SKHĐT" userId="ab9568c39a88b08a" providerId="LiveId" clId="{BE80218A-C675-4EC2-AD94-24A89D98EEE1}" dt="2023-06-06T04:16:13.691" v="1554" actId="20577"/>
          <ac:spMkLst>
            <pc:docMk/>
            <pc:sldMk cId="234700294" sldId="2147473772"/>
            <ac:spMk id="5" creationId="{9CBC7A17-9F40-F9E2-3D14-0D173740B2FD}"/>
          </ac:spMkLst>
        </pc:spChg>
        <pc:graphicFrameChg chg="del mod">
          <ac:chgData name="Tường SKHĐT" userId="ab9568c39a88b08a" providerId="LiveId" clId="{BE80218A-C675-4EC2-AD94-24A89D98EEE1}" dt="2023-06-07T09:52:45.393" v="3526" actId="21"/>
          <ac:graphicFrameMkLst>
            <pc:docMk/>
            <pc:sldMk cId="234700294" sldId="2147473772"/>
            <ac:graphicFrameMk id="2" creationId="{74B794F2-F444-5B57-9140-254BFF55A77F}"/>
          </ac:graphicFrameMkLst>
        </pc:graphicFrameChg>
        <pc:graphicFrameChg chg="mod">
          <ac:chgData name="Tường SKHĐT" userId="ab9568c39a88b08a" providerId="LiveId" clId="{BE80218A-C675-4EC2-AD94-24A89D98EEE1}" dt="2023-06-07T09:53:29.411" v="3532" actId="14100"/>
          <ac:graphicFrameMkLst>
            <pc:docMk/>
            <pc:sldMk cId="234700294" sldId="2147473772"/>
            <ac:graphicFrameMk id="3" creationId="{0E1AEE54-0CB2-A7C5-91E3-5E87FD212A8A}"/>
          </ac:graphicFrameMkLst>
        </pc:graphicFrameChg>
        <pc:graphicFrameChg chg="del">
          <ac:chgData name="Tường SKHĐT" userId="ab9568c39a88b08a" providerId="LiveId" clId="{BE80218A-C675-4EC2-AD94-24A89D98EEE1}" dt="2023-06-06T04:15:07.373" v="1446" actId="21"/>
          <ac:graphicFrameMkLst>
            <pc:docMk/>
            <pc:sldMk cId="234700294" sldId="2147473772"/>
            <ac:graphicFrameMk id="4" creationId="{7797DB3D-F747-944F-3F8D-DB6F2A08D04E}"/>
          </ac:graphicFrameMkLst>
        </pc:graphicFrameChg>
      </pc:sldChg>
      <pc:sldChg chg="delSp modSp add mod">
        <pc:chgData name="Tường SKHĐT" userId="ab9568c39a88b08a" providerId="LiveId" clId="{BE80218A-C675-4EC2-AD94-24A89D98EEE1}" dt="2023-06-07T09:53:11.935" v="3530" actId="14100"/>
        <pc:sldMkLst>
          <pc:docMk/>
          <pc:sldMk cId="1104733517" sldId="2147473773"/>
        </pc:sldMkLst>
        <pc:graphicFrameChg chg="mod">
          <ac:chgData name="Tường SKHĐT" userId="ab9568c39a88b08a" providerId="LiveId" clId="{BE80218A-C675-4EC2-AD94-24A89D98EEE1}" dt="2023-06-07T09:53:11.935" v="3530" actId="14100"/>
          <ac:graphicFrameMkLst>
            <pc:docMk/>
            <pc:sldMk cId="1104733517" sldId="2147473773"/>
            <ac:graphicFrameMk id="2" creationId="{C1D40982-3948-FB7D-B602-A3F0643F22E2}"/>
          </ac:graphicFrameMkLst>
        </pc:graphicFrameChg>
        <pc:graphicFrameChg chg="del">
          <ac:chgData name="Tường SKHĐT" userId="ab9568c39a88b08a" providerId="LiveId" clId="{BE80218A-C675-4EC2-AD94-24A89D98EEE1}" dt="2023-06-07T09:52:43.446" v="3525" actId="21"/>
          <ac:graphicFrameMkLst>
            <pc:docMk/>
            <pc:sldMk cId="1104733517" sldId="2147473773"/>
            <ac:graphicFrameMk id="4" creationId="{7797DB3D-F747-944F-3F8D-DB6F2A08D04E}"/>
          </ac:graphicFrameMkLst>
        </pc:graphicFrameChg>
      </pc:sldChg>
      <pc:sldChg chg="delSp modSp add mod">
        <pc:chgData name="Tường SKHĐT" userId="ab9568c39a88b08a" providerId="LiveId" clId="{BE80218A-C675-4EC2-AD94-24A89D98EEE1}" dt="2023-06-07T09:51:57.155" v="3516" actId="1076"/>
        <pc:sldMkLst>
          <pc:docMk/>
          <pc:sldMk cId="2095301367" sldId="2147473774"/>
        </pc:sldMkLst>
        <pc:spChg chg="mod">
          <ac:chgData name="Tường SKHĐT" userId="ab9568c39a88b08a" providerId="LiveId" clId="{BE80218A-C675-4EC2-AD94-24A89D98EEE1}" dt="2023-06-07T03:25:41.635" v="1587" actId="20577"/>
          <ac:spMkLst>
            <pc:docMk/>
            <pc:sldMk cId="2095301367" sldId="2147473774"/>
            <ac:spMk id="3" creationId="{9363D8CF-2C85-3BF9-B7BB-9B85B15F2F06}"/>
          </ac:spMkLst>
        </pc:spChg>
        <pc:graphicFrameChg chg="del mod">
          <ac:chgData name="Tường SKHĐT" userId="ab9568c39a88b08a" providerId="LiveId" clId="{BE80218A-C675-4EC2-AD94-24A89D98EEE1}" dt="2023-06-07T09:51:40.548" v="3513" actId="21"/>
          <ac:graphicFrameMkLst>
            <pc:docMk/>
            <pc:sldMk cId="2095301367" sldId="2147473774"/>
            <ac:graphicFrameMk id="2" creationId="{46F84510-5D73-E7B4-5266-93119E7E7F39}"/>
          </ac:graphicFrameMkLst>
        </pc:graphicFrameChg>
        <pc:graphicFrameChg chg="mod">
          <ac:chgData name="Tường SKHĐT" userId="ab9568c39a88b08a" providerId="LiveId" clId="{BE80218A-C675-4EC2-AD94-24A89D98EEE1}" dt="2023-06-07T09:51:57.155" v="3516" actId="1076"/>
          <ac:graphicFrameMkLst>
            <pc:docMk/>
            <pc:sldMk cId="2095301367" sldId="2147473774"/>
            <ac:graphicFrameMk id="4" creationId="{88CFF7BF-EECA-08B6-5E5A-FC4C7E19A4DD}"/>
          </ac:graphicFrameMkLst>
        </pc:graphicFrameChg>
        <pc:graphicFrameChg chg="del">
          <ac:chgData name="Tường SKHĐT" userId="ab9568c39a88b08a" providerId="LiveId" clId="{BE80218A-C675-4EC2-AD94-24A89D98EEE1}" dt="2023-06-07T03:25:37.055" v="1572" actId="21"/>
          <ac:graphicFrameMkLst>
            <pc:docMk/>
            <pc:sldMk cId="2095301367" sldId="2147473774"/>
            <ac:graphicFrameMk id="7" creationId="{5EEF4045-5BA4-E0B4-06C5-5927D8F5A4DD}"/>
          </ac:graphicFrameMkLst>
        </pc:graphicFrameChg>
      </pc:sldChg>
      <pc:sldChg chg="addSp delSp modSp add del mod">
        <pc:chgData name="Tường SKHĐT" userId="ab9568c39a88b08a" providerId="LiveId" clId="{BE80218A-C675-4EC2-AD94-24A89D98EEE1}" dt="2023-06-07T03:56:48.393" v="2180" actId="2696"/>
        <pc:sldMkLst>
          <pc:docMk/>
          <pc:sldMk cId="1039855207" sldId="2147473775"/>
        </pc:sldMkLst>
        <pc:spChg chg="mod">
          <ac:chgData name="Tường SKHĐT" userId="ab9568c39a88b08a" providerId="LiveId" clId="{BE80218A-C675-4EC2-AD94-24A89D98EEE1}" dt="2023-06-07T03:34:03.919" v="1668" actId="6549"/>
          <ac:spMkLst>
            <pc:docMk/>
            <pc:sldMk cId="1039855207" sldId="2147473775"/>
            <ac:spMk id="2" creationId="{E44EE9E0-4EA3-0404-EFB1-8C6F74BFB274}"/>
          </ac:spMkLst>
        </pc:spChg>
        <pc:spChg chg="del">
          <ac:chgData name="Tường SKHĐT" userId="ab9568c39a88b08a" providerId="LiveId" clId="{BE80218A-C675-4EC2-AD94-24A89D98EEE1}" dt="2023-06-07T03:33:00.355" v="1610" actId="21"/>
          <ac:spMkLst>
            <pc:docMk/>
            <pc:sldMk cId="1039855207" sldId="2147473775"/>
            <ac:spMk id="3" creationId="{22B2B715-653C-5238-09BE-B01B91D4BD2D}"/>
          </ac:spMkLst>
        </pc:spChg>
        <pc:spChg chg="add mod">
          <ac:chgData name="Tường SKHĐT" userId="ab9568c39a88b08a" providerId="LiveId" clId="{BE80218A-C675-4EC2-AD94-24A89D98EEE1}" dt="2023-06-07T03:54:59.735" v="2170"/>
          <ac:spMkLst>
            <pc:docMk/>
            <pc:sldMk cId="1039855207" sldId="2147473775"/>
            <ac:spMk id="3" creationId="{F4469181-9FA7-E375-5CC3-A6CE0AD5DE73}"/>
          </ac:spMkLst>
        </pc:spChg>
        <pc:spChg chg="add del mod">
          <ac:chgData name="Tường SKHĐT" userId="ab9568c39a88b08a" providerId="LiveId" clId="{BE80218A-C675-4EC2-AD94-24A89D98EEE1}" dt="2023-06-07T03:54:55.365" v="2169" actId="21"/>
          <ac:spMkLst>
            <pc:docMk/>
            <pc:sldMk cId="1039855207" sldId="2147473775"/>
            <ac:spMk id="4" creationId="{A9580A04-85B9-CB8C-0FF7-B7307211FA2B}"/>
          </ac:spMkLst>
        </pc:spChg>
      </pc:sldChg>
      <pc:sldChg chg="addSp delSp modSp add mod">
        <pc:chgData name="Tường SKHĐT" userId="ab9568c39a88b08a" providerId="LiveId" clId="{BE80218A-C675-4EC2-AD94-24A89D98EEE1}" dt="2023-06-07T04:02:48" v="2338" actId="108"/>
        <pc:sldMkLst>
          <pc:docMk/>
          <pc:sldMk cId="3251302883" sldId="2147473776"/>
        </pc:sldMkLst>
        <pc:spChg chg="mod">
          <ac:chgData name="Tường SKHĐT" userId="ab9568c39a88b08a" providerId="LiveId" clId="{BE80218A-C675-4EC2-AD94-24A89D98EEE1}" dt="2023-06-07T03:34:14.005" v="1678" actId="20577"/>
          <ac:spMkLst>
            <pc:docMk/>
            <pc:sldMk cId="3251302883" sldId="2147473776"/>
            <ac:spMk id="2" creationId="{E44EE9E0-4EA3-0404-EFB1-8C6F74BFB274}"/>
          </ac:spMkLst>
        </pc:spChg>
        <pc:spChg chg="del">
          <ac:chgData name="Tường SKHĐT" userId="ab9568c39a88b08a" providerId="LiveId" clId="{BE80218A-C675-4EC2-AD94-24A89D98EEE1}" dt="2023-06-07T03:33:03.319" v="1611" actId="21"/>
          <ac:spMkLst>
            <pc:docMk/>
            <pc:sldMk cId="3251302883" sldId="2147473776"/>
            <ac:spMk id="3" creationId="{22B2B715-653C-5238-09BE-B01B91D4BD2D}"/>
          </ac:spMkLst>
        </pc:spChg>
        <pc:spChg chg="add mod">
          <ac:chgData name="Tường SKHĐT" userId="ab9568c39a88b08a" providerId="LiveId" clId="{BE80218A-C675-4EC2-AD94-24A89D98EEE1}" dt="2023-06-07T04:02:48" v="2338" actId="108"/>
          <ac:spMkLst>
            <pc:docMk/>
            <pc:sldMk cId="3251302883" sldId="2147473776"/>
            <ac:spMk id="3" creationId="{710E3433-6F22-39F0-3EDD-1052A826E7F2}"/>
          </ac:spMkLst>
        </pc:spChg>
        <pc:spChg chg="add del mod">
          <ac:chgData name="Tường SKHĐT" userId="ab9568c39a88b08a" providerId="LiveId" clId="{BE80218A-C675-4EC2-AD94-24A89D98EEE1}" dt="2023-06-07T03:58:50.537" v="2292" actId="21"/>
          <ac:spMkLst>
            <pc:docMk/>
            <pc:sldMk cId="3251302883" sldId="2147473776"/>
            <ac:spMk id="4" creationId="{0FA51F45-8726-BC4F-9EAA-D7FF887294E5}"/>
          </ac:spMkLst>
        </pc:spChg>
      </pc:sldChg>
      <pc:sldChg chg="addSp delSp modSp add mod">
        <pc:chgData name="Tường SKHĐT" userId="ab9568c39a88b08a" providerId="LiveId" clId="{BE80218A-C675-4EC2-AD94-24A89D98EEE1}" dt="2023-06-07T04:05:20.543" v="2394" actId="20577"/>
        <pc:sldMkLst>
          <pc:docMk/>
          <pc:sldMk cId="1062303806" sldId="2147473777"/>
        </pc:sldMkLst>
        <pc:spChg chg="mod">
          <ac:chgData name="Tường SKHĐT" userId="ab9568c39a88b08a" providerId="LiveId" clId="{BE80218A-C675-4EC2-AD94-24A89D98EEE1}" dt="2023-06-07T03:37:13.099" v="1970" actId="14100"/>
          <ac:spMkLst>
            <pc:docMk/>
            <pc:sldMk cId="1062303806" sldId="2147473777"/>
            <ac:spMk id="2" creationId="{E44EE9E0-4EA3-0404-EFB1-8C6F74BFB274}"/>
          </ac:spMkLst>
        </pc:spChg>
        <pc:spChg chg="add mod">
          <ac:chgData name="Tường SKHĐT" userId="ab9568c39a88b08a" providerId="LiveId" clId="{BE80218A-C675-4EC2-AD94-24A89D98EEE1}" dt="2023-06-07T04:05:20.543" v="2394" actId="20577"/>
          <ac:spMkLst>
            <pc:docMk/>
            <pc:sldMk cId="1062303806" sldId="2147473777"/>
            <ac:spMk id="3" creationId="{0E85AE63-3D48-B705-DC2C-837405C4EFCD}"/>
          </ac:spMkLst>
        </pc:spChg>
        <pc:spChg chg="del">
          <ac:chgData name="Tường SKHĐT" userId="ab9568c39a88b08a" providerId="LiveId" clId="{BE80218A-C675-4EC2-AD94-24A89D98EEE1}" dt="2023-06-07T03:33:06.169" v="1612" actId="21"/>
          <ac:spMkLst>
            <pc:docMk/>
            <pc:sldMk cId="1062303806" sldId="2147473777"/>
            <ac:spMk id="3" creationId="{22B2B715-653C-5238-09BE-B01B91D4BD2D}"/>
          </ac:spMkLst>
        </pc:spChg>
        <pc:spChg chg="add del mod">
          <ac:chgData name="Tường SKHĐT" userId="ab9568c39a88b08a" providerId="LiveId" clId="{BE80218A-C675-4EC2-AD94-24A89D98EEE1}" dt="2023-06-07T03:59:45.106" v="2301" actId="21"/>
          <ac:spMkLst>
            <pc:docMk/>
            <pc:sldMk cId="1062303806" sldId="2147473777"/>
            <ac:spMk id="4" creationId="{72A0DEF0-437C-3C25-14E6-410CF03BEA70}"/>
          </ac:spMkLst>
        </pc:spChg>
      </pc:sldChg>
      <pc:sldChg chg="addSp delSp modSp add del mod">
        <pc:chgData name="Tường SKHĐT" userId="ab9568c39a88b08a" providerId="LiveId" clId="{BE80218A-C675-4EC2-AD94-24A89D98EEE1}" dt="2023-06-07T04:10:36.214" v="2465" actId="2696"/>
        <pc:sldMkLst>
          <pc:docMk/>
          <pc:sldMk cId="3775435040" sldId="2147473778"/>
        </pc:sldMkLst>
        <pc:spChg chg="mod">
          <ac:chgData name="Tường SKHĐT" userId="ab9568c39a88b08a" providerId="LiveId" clId="{BE80218A-C675-4EC2-AD94-24A89D98EEE1}" dt="2023-06-07T03:35:03.439" v="1765" actId="20577"/>
          <ac:spMkLst>
            <pc:docMk/>
            <pc:sldMk cId="3775435040" sldId="2147473778"/>
            <ac:spMk id="2" creationId="{E44EE9E0-4EA3-0404-EFB1-8C6F74BFB274}"/>
          </ac:spMkLst>
        </pc:spChg>
        <pc:spChg chg="del">
          <ac:chgData name="Tường SKHĐT" userId="ab9568c39a88b08a" providerId="LiveId" clId="{BE80218A-C675-4EC2-AD94-24A89D98EEE1}" dt="2023-06-07T03:33:08.762" v="1613" actId="21"/>
          <ac:spMkLst>
            <pc:docMk/>
            <pc:sldMk cId="3775435040" sldId="2147473778"/>
            <ac:spMk id="3" creationId="{22B2B715-653C-5238-09BE-B01B91D4BD2D}"/>
          </ac:spMkLst>
        </pc:spChg>
        <pc:spChg chg="add mod">
          <ac:chgData name="Tường SKHĐT" userId="ab9568c39a88b08a" providerId="LiveId" clId="{BE80218A-C675-4EC2-AD94-24A89D98EEE1}" dt="2023-06-07T04:02:03.734" v="2333" actId="20577"/>
          <ac:spMkLst>
            <pc:docMk/>
            <pc:sldMk cId="3775435040" sldId="2147473778"/>
            <ac:spMk id="3" creationId="{6FE22930-7AC3-0554-2E33-B7CD2989A925}"/>
          </ac:spMkLst>
        </pc:spChg>
        <pc:spChg chg="add del mod">
          <ac:chgData name="Tường SKHĐT" userId="ab9568c39a88b08a" providerId="LiveId" clId="{BE80218A-C675-4EC2-AD94-24A89D98EEE1}" dt="2023-06-07T04:01:48.405" v="2329" actId="21"/>
          <ac:spMkLst>
            <pc:docMk/>
            <pc:sldMk cId="3775435040" sldId="2147473778"/>
            <ac:spMk id="4" creationId="{9A215C6C-81F2-B9A6-7BC7-71A9C7369F63}"/>
          </ac:spMkLst>
        </pc:spChg>
      </pc:sldChg>
      <pc:sldChg chg="addSp delSp modSp add mod">
        <pc:chgData name="Tường SKHĐT" userId="ab9568c39a88b08a" providerId="LiveId" clId="{BE80218A-C675-4EC2-AD94-24A89D98EEE1}" dt="2023-06-07T04:10:40.120" v="2467" actId="20577"/>
        <pc:sldMkLst>
          <pc:docMk/>
          <pc:sldMk cId="2750415700" sldId="2147473779"/>
        </pc:sldMkLst>
        <pc:spChg chg="mod">
          <ac:chgData name="Tường SKHĐT" userId="ab9568c39a88b08a" providerId="LiveId" clId="{BE80218A-C675-4EC2-AD94-24A89D98EEE1}" dt="2023-06-07T04:10:40.120" v="2467" actId="20577"/>
          <ac:spMkLst>
            <pc:docMk/>
            <pc:sldMk cId="2750415700" sldId="2147473779"/>
            <ac:spMk id="2" creationId="{E44EE9E0-4EA3-0404-EFB1-8C6F74BFB274}"/>
          </ac:spMkLst>
        </pc:spChg>
        <pc:spChg chg="add del mod">
          <ac:chgData name="Tường SKHĐT" userId="ab9568c39a88b08a" providerId="LiveId" clId="{BE80218A-C675-4EC2-AD94-24A89D98EEE1}" dt="2023-06-07T04:00:34.750" v="2311" actId="21"/>
          <ac:spMkLst>
            <pc:docMk/>
            <pc:sldMk cId="2750415700" sldId="2147473779"/>
            <ac:spMk id="3" creationId="{031D97DD-52CE-206C-4210-FF0B07EAE560}"/>
          </ac:spMkLst>
        </pc:spChg>
        <pc:spChg chg="add mod">
          <ac:chgData name="Tường SKHĐT" userId="ab9568c39a88b08a" providerId="LiveId" clId="{BE80218A-C675-4EC2-AD94-24A89D98EEE1}" dt="2023-06-07T04:07:30.185" v="2460" actId="20577"/>
          <ac:spMkLst>
            <pc:docMk/>
            <pc:sldMk cId="2750415700" sldId="2147473779"/>
            <ac:spMk id="4" creationId="{B1405CF5-1D52-D5B7-F187-87D10B6C93E3}"/>
          </ac:spMkLst>
        </pc:spChg>
      </pc:sldChg>
      <pc:sldChg chg="addSp delSp modSp add mod">
        <pc:chgData name="Tường SKHĐT" userId="ab9568c39a88b08a" providerId="LiveId" clId="{BE80218A-C675-4EC2-AD94-24A89D98EEE1}" dt="2023-06-07T04:10:43.240" v="2469" actId="20577"/>
        <pc:sldMkLst>
          <pc:docMk/>
          <pc:sldMk cId="645932880" sldId="2147473780"/>
        </pc:sldMkLst>
        <pc:spChg chg="mod">
          <ac:chgData name="Tường SKHĐT" userId="ab9568c39a88b08a" providerId="LiveId" clId="{BE80218A-C675-4EC2-AD94-24A89D98EEE1}" dt="2023-06-07T04:10:43.240" v="2469" actId="20577"/>
          <ac:spMkLst>
            <pc:docMk/>
            <pc:sldMk cId="645932880" sldId="2147473780"/>
            <ac:spMk id="2" creationId="{E44EE9E0-4EA3-0404-EFB1-8C6F74BFB274}"/>
          </ac:spMkLst>
        </pc:spChg>
        <pc:spChg chg="add del mod">
          <ac:chgData name="Tường SKHĐT" userId="ab9568c39a88b08a" providerId="LiveId" clId="{BE80218A-C675-4EC2-AD94-24A89D98EEE1}" dt="2023-06-07T04:01:06.764" v="2317" actId="21"/>
          <ac:spMkLst>
            <pc:docMk/>
            <pc:sldMk cId="645932880" sldId="2147473780"/>
            <ac:spMk id="3" creationId="{29688E9F-054B-1A93-2156-57009456956F}"/>
          </ac:spMkLst>
        </pc:spChg>
        <pc:spChg chg="add mod">
          <ac:chgData name="Tường SKHĐT" userId="ab9568c39a88b08a" providerId="LiveId" clId="{BE80218A-C675-4EC2-AD94-24A89D98EEE1}" dt="2023-06-07T04:06:01.067" v="2399" actId="1076"/>
          <ac:spMkLst>
            <pc:docMk/>
            <pc:sldMk cId="645932880" sldId="2147473780"/>
            <ac:spMk id="7" creationId="{4A5CC767-3BC7-5025-FC6C-29F07C0192CB}"/>
          </ac:spMkLst>
        </pc:spChg>
        <pc:picChg chg="add del mod">
          <ac:chgData name="Tường SKHĐT" userId="ab9568c39a88b08a" providerId="LiveId" clId="{BE80218A-C675-4EC2-AD94-24A89D98EEE1}" dt="2023-06-07T04:01:08.617" v="2319" actId="478"/>
          <ac:picMkLst>
            <pc:docMk/>
            <pc:sldMk cId="645932880" sldId="2147473780"/>
            <ac:picMk id="4" creationId="{B24D0C51-489B-5D0D-BC49-02E90F97D7EB}"/>
          </ac:picMkLst>
        </pc:picChg>
        <pc:picChg chg="add del mod">
          <ac:chgData name="Tường SKHĐT" userId="ab9568c39a88b08a" providerId="LiveId" clId="{BE80218A-C675-4EC2-AD94-24A89D98EEE1}" dt="2023-06-07T04:01:07.970" v="2318" actId="478"/>
          <ac:picMkLst>
            <pc:docMk/>
            <pc:sldMk cId="645932880" sldId="2147473780"/>
            <ac:picMk id="6" creationId="{6A5EA4C8-3744-35A5-AA3E-D713D02841DE}"/>
          </ac:picMkLst>
        </pc:picChg>
      </pc:sldChg>
      <pc:sldChg chg="modSp add mod">
        <pc:chgData name="Tường SKHĐT" userId="ab9568c39a88b08a" providerId="LiveId" clId="{BE80218A-C675-4EC2-AD94-24A89D98EEE1}" dt="2023-06-07T03:58:23.447" v="2289" actId="1076"/>
        <pc:sldMkLst>
          <pc:docMk/>
          <pc:sldMk cId="1719214563" sldId="2147473781"/>
        </pc:sldMkLst>
        <pc:spChg chg="mod">
          <ac:chgData name="Tường SKHĐT" userId="ab9568c39a88b08a" providerId="LiveId" clId="{BE80218A-C675-4EC2-AD94-24A89D98EEE1}" dt="2023-06-07T03:58:23.447" v="2289" actId="1076"/>
          <ac:spMkLst>
            <pc:docMk/>
            <pc:sldMk cId="1719214563" sldId="2147473781"/>
            <ac:spMk id="4" creationId="{A9580A04-85B9-CB8C-0FF7-B7307211FA2B}"/>
          </ac:spMkLst>
        </pc:spChg>
      </pc:sldChg>
      <pc:sldChg chg="add del">
        <pc:chgData name="Tường SKHĐT" userId="ab9568c39a88b08a" providerId="LiveId" clId="{BE80218A-C675-4EC2-AD94-24A89D98EEE1}" dt="2023-06-07T04:01:38.212" v="2327" actId="2696"/>
        <pc:sldMkLst>
          <pc:docMk/>
          <pc:sldMk cId="26998793" sldId="2147473782"/>
        </pc:sldMkLst>
      </pc:sldChg>
      <pc:sldChg chg="add del">
        <pc:chgData name="Tường SKHĐT" userId="ab9568c39a88b08a" providerId="LiveId" clId="{BE80218A-C675-4EC2-AD94-24A89D98EEE1}" dt="2023-06-07T03:59:18.380" v="2299" actId="2696"/>
        <pc:sldMkLst>
          <pc:docMk/>
          <pc:sldMk cId="1592731641" sldId="2147473782"/>
        </pc:sldMkLst>
      </pc:sldChg>
      <pc:sldChg chg="add del">
        <pc:chgData name="Tường SKHĐT" userId="ab9568c39a88b08a" providerId="LiveId" clId="{BE80218A-C675-4EC2-AD94-24A89D98EEE1}" dt="2023-06-07T04:00:14.077" v="2309" actId="2696"/>
        <pc:sldMkLst>
          <pc:docMk/>
          <pc:sldMk cId="2594209138" sldId="2147473782"/>
        </pc:sldMkLst>
      </pc:sldChg>
      <pc:sldChg chg="add del">
        <pc:chgData name="Tường SKHĐT" userId="ab9568c39a88b08a" providerId="LiveId" clId="{BE80218A-C675-4EC2-AD94-24A89D98EEE1}" dt="2023-06-07T04:00:55.901" v="2315" actId="2696"/>
        <pc:sldMkLst>
          <pc:docMk/>
          <pc:sldMk cId="3050355427" sldId="2147473782"/>
        </pc:sldMkLst>
      </pc:sldChg>
      <pc:sldChg chg="delSp modSp add mod">
        <pc:chgData name="Tường SKHĐT" userId="ab9568c39a88b08a" providerId="LiveId" clId="{BE80218A-C675-4EC2-AD94-24A89D98EEE1}" dt="2023-06-07T09:51:37.528" v="3512" actId="14100"/>
        <pc:sldMkLst>
          <pc:docMk/>
          <pc:sldMk cId="3240633406" sldId="2147473782"/>
        </pc:sldMkLst>
        <pc:spChg chg="mod">
          <ac:chgData name="Tường SKHĐT" userId="ab9568c39a88b08a" providerId="LiveId" clId="{BE80218A-C675-4EC2-AD94-24A89D98EEE1}" dt="2023-06-07T07:49:28.389" v="2513" actId="20577"/>
          <ac:spMkLst>
            <pc:docMk/>
            <pc:sldMk cId="3240633406" sldId="2147473782"/>
            <ac:spMk id="3" creationId="{9363D8CF-2C85-3BF9-B7BB-9B85B15F2F06}"/>
          </ac:spMkLst>
        </pc:spChg>
        <pc:graphicFrameChg chg="mod">
          <ac:chgData name="Tường SKHĐT" userId="ab9568c39a88b08a" providerId="LiveId" clId="{BE80218A-C675-4EC2-AD94-24A89D98EEE1}" dt="2023-06-07T09:51:37.528" v="3512" actId="14100"/>
          <ac:graphicFrameMkLst>
            <pc:docMk/>
            <pc:sldMk cId="3240633406" sldId="2147473782"/>
            <ac:graphicFrameMk id="2" creationId="{3DAB9EA9-E92B-5314-2803-3E1AA62A0546}"/>
          </ac:graphicFrameMkLst>
        </pc:graphicFrameChg>
        <pc:graphicFrameChg chg="del">
          <ac:chgData name="Tường SKHĐT" userId="ab9568c39a88b08a" providerId="LiveId" clId="{BE80218A-C675-4EC2-AD94-24A89D98EEE1}" dt="2023-06-07T09:51:18.343" v="3508" actId="21"/>
          <ac:graphicFrameMkLst>
            <pc:docMk/>
            <pc:sldMk cId="3240633406" sldId="2147473782"/>
            <ac:graphicFrameMk id="7" creationId="{5EEF4045-5BA4-E0B4-06C5-5927D8F5A4DD}"/>
          </ac:graphicFrameMkLst>
        </pc:graphicFrameChg>
      </pc:sldChg>
      <pc:sldChg chg="add del">
        <pc:chgData name="Tường SKHĐT" userId="ab9568c39a88b08a" providerId="LiveId" clId="{BE80218A-C675-4EC2-AD94-24A89D98EEE1}" dt="2023-06-07T04:02:07.007" v="2334" actId="2696"/>
        <pc:sldMkLst>
          <pc:docMk/>
          <pc:sldMk cId="3975351433" sldId="2147473782"/>
        </pc:sldMkLst>
      </pc:sldChg>
      <pc:sldChg chg="delSp modSp add mod">
        <pc:chgData name="Tường SKHĐT" userId="ab9568c39a88b08a" providerId="LiveId" clId="{BE80218A-C675-4EC2-AD94-24A89D98EEE1}" dt="2023-06-07T09:51:14.154" v="3507" actId="1076"/>
        <pc:sldMkLst>
          <pc:docMk/>
          <pc:sldMk cId="2431116905" sldId="2147473783"/>
        </pc:sldMkLst>
        <pc:spChg chg="mod">
          <ac:chgData name="Tường SKHĐT" userId="ab9568c39a88b08a" providerId="LiveId" clId="{BE80218A-C675-4EC2-AD94-24A89D98EEE1}" dt="2023-06-07T09:51:14.154" v="3507" actId="1076"/>
          <ac:spMkLst>
            <pc:docMk/>
            <pc:sldMk cId="2431116905" sldId="2147473783"/>
            <ac:spMk id="3" creationId="{9363D8CF-2C85-3BF9-B7BB-9B85B15F2F06}"/>
          </ac:spMkLst>
        </pc:spChg>
        <pc:graphicFrameChg chg="del mod">
          <ac:chgData name="Tường SKHĐT" userId="ab9568c39a88b08a" providerId="LiveId" clId="{BE80218A-C675-4EC2-AD94-24A89D98EEE1}" dt="2023-06-07T09:50:49.636" v="3503" actId="21"/>
          <ac:graphicFrameMkLst>
            <pc:docMk/>
            <pc:sldMk cId="2431116905" sldId="2147473783"/>
            <ac:graphicFrameMk id="2" creationId="{04996C98-5B48-AF22-C00A-FA8A7726268E}"/>
          </ac:graphicFrameMkLst>
        </pc:graphicFrameChg>
        <pc:graphicFrameChg chg="mod">
          <ac:chgData name="Tường SKHĐT" userId="ab9568c39a88b08a" providerId="LiveId" clId="{BE80218A-C675-4EC2-AD94-24A89D98EEE1}" dt="2023-06-07T09:51:11.682" v="3506" actId="1076"/>
          <ac:graphicFrameMkLst>
            <pc:docMk/>
            <pc:sldMk cId="2431116905" sldId="2147473783"/>
            <ac:graphicFrameMk id="4" creationId="{CB125874-AF46-08B5-FA85-D0900844E51C}"/>
          </ac:graphicFrameMkLst>
        </pc:graphicFrameChg>
        <pc:graphicFrameChg chg="del">
          <ac:chgData name="Tường SKHĐT" userId="ab9568c39a88b08a" providerId="LiveId" clId="{BE80218A-C675-4EC2-AD94-24A89D98EEE1}" dt="2023-06-07T07:49:07.934" v="2472" actId="21"/>
          <ac:graphicFrameMkLst>
            <pc:docMk/>
            <pc:sldMk cId="2431116905" sldId="2147473783"/>
            <ac:graphicFrameMk id="7" creationId="{5EEF4045-5BA4-E0B4-06C5-5927D8F5A4DD}"/>
          </ac:graphicFrameMkLst>
        </pc:graphicFrameChg>
      </pc:sldChg>
      <pc:sldChg chg="delSp modSp add mod">
        <pc:chgData name="Tường SKHĐT" userId="ab9568c39a88b08a" providerId="LiveId" clId="{BE80218A-C675-4EC2-AD94-24A89D98EEE1}" dt="2023-06-08T03:09:19.061" v="9168" actId="14100"/>
        <pc:sldMkLst>
          <pc:docMk/>
          <pc:sldMk cId="2591896949" sldId="2147473784"/>
        </pc:sldMkLst>
        <pc:spChg chg="mod">
          <ac:chgData name="Tường SKHĐT" userId="ab9568c39a88b08a" providerId="LiveId" clId="{BE80218A-C675-4EC2-AD94-24A89D98EEE1}" dt="2023-06-07T07:49:45.279" v="2538" actId="20577"/>
          <ac:spMkLst>
            <pc:docMk/>
            <pc:sldMk cId="2591896949" sldId="2147473784"/>
            <ac:spMk id="3" creationId="{9363D8CF-2C85-3BF9-B7BB-9B85B15F2F06}"/>
          </ac:spMkLst>
        </pc:spChg>
        <pc:graphicFrameChg chg="del">
          <ac:chgData name="Tường SKHĐT" userId="ab9568c39a88b08a" providerId="LiveId" clId="{BE80218A-C675-4EC2-AD94-24A89D98EEE1}" dt="2023-06-07T07:49:42.108" v="2525" actId="21"/>
          <ac:graphicFrameMkLst>
            <pc:docMk/>
            <pc:sldMk cId="2591896949" sldId="2147473784"/>
            <ac:graphicFrameMk id="2" creationId="{46F84510-5D73-E7B4-5266-93119E7E7F39}"/>
          </ac:graphicFrameMkLst>
        </pc:graphicFrameChg>
        <pc:graphicFrameChg chg="del mod">
          <ac:chgData name="Tường SKHĐT" userId="ab9568c39a88b08a" providerId="LiveId" clId="{BE80218A-C675-4EC2-AD94-24A89D98EEE1}" dt="2023-06-08T03:09:02.897" v="9165" actId="21"/>
          <ac:graphicFrameMkLst>
            <pc:docMk/>
            <pc:sldMk cId="2591896949" sldId="2147473784"/>
            <ac:graphicFrameMk id="2" creationId="{C209F275-B6AA-22BB-8C90-DA0CFC3F4AA8}"/>
          </ac:graphicFrameMkLst>
        </pc:graphicFrameChg>
        <pc:graphicFrameChg chg="del mod">
          <ac:chgData name="Tường SKHĐT" userId="ab9568c39a88b08a" providerId="LiveId" clId="{BE80218A-C675-4EC2-AD94-24A89D98EEE1}" dt="2023-06-07T09:52:01.180" v="3517" actId="21"/>
          <ac:graphicFrameMkLst>
            <pc:docMk/>
            <pc:sldMk cId="2591896949" sldId="2147473784"/>
            <ac:graphicFrameMk id="4" creationId="{8A2F5A78-DFAB-DD87-B655-C862A67845E7}"/>
          </ac:graphicFrameMkLst>
        </pc:graphicFrameChg>
        <pc:graphicFrameChg chg="mod">
          <ac:chgData name="Tường SKHĐT" userId="ab9568c39a88b08a" providerId="LiveId" clId="{BE80218A-C675-4EC2-AD94-24A89D98EEE1}" dt="2023-06-08T03:09:19.061" v="9168" actId="14100"/>
          <ac:graphicFrameMkLst>
            <pc:docMk/>
            <pc:sldMk cId="2591896949" sldId="2147473784"/>
            <ac:graphicFrameMk id="4" creationId="{B66012D5-611D-7F57-C36F-1B725A75297C}"/>
          </ac:graphicFrameMkLst>
        </pc:graphicFrameChg>
      </pc:sldChg>
      <pc:sldChg chg="delSp modSp add mod">
        <pc:chgData name="Tường SKHĐT" userId="ab9568c39a88b08a" providerId="LiveId" clId="{BE80218A-C675-4EC2-AD94-24A89D98EEE1}" dt="2023-06-08T04:20:11.302" v="9409" actId="14100"/>
        <pc:sldMkLst>
          <pc:docMk/>
          <pc:sldMk cId="156183180" sldId="2147473785"/>
        </pc:sldMkLst>
        <pc:spChg chg="mod">
          <ac:chgData name="Tường SKHĐT" userId="ab9568c39a88b08a" providerId="LiveId" clId="{BE80218A-C675-4EC2-AD94-24A89D98EEE1}" dt="2023-06-07T07:49:51.373" v="2543" actId="20577"/>
          <ac:spMkLst>
            <pc:docMk/>
            <pc:sldMk cId="156183180" sldId="2147473785"/>
            <ac:spMk id="3" creationId="{9363D8CF-2C85-3BF9-B7BB-9B85B15F2F06}"/>
          </ac:spMkLst>
        </pc:spChg>
        <pc:graphicFrameChg chg="del mod">
          <ac:chgData name="Tường SKHĐT" userId="ab9568c39a88b08a" providerId="LiveId" clId="{BE80218A-C675-4EC2-AD94-24A89D98EEE1}" dt="2023-06-07T09:52:04.080" v="3518" actId="21"/>
          <ac:graphicFrameMkLst>
            <pc:docMk/>
            <pc:sldMk cId="156183180" sldId="2147473785"/>
            <ac:graphicFrameMk id="2" creationId="{21FBD287-F344-9E4F-A1EA-084F06D670C8}"/>
          </ac:graphicFrameMkLst>
        </pc:graphicFrameChg>
        <pc:graphicFrameChg chg="mod">
          <ac:chgData name="Tường SKHĐT" userId="ab9568c39a88b08a" providerId="LiveId" clId="{BE80218A-C675-4EC2-AD94-24A89D98EEE1}" dt="2023-06-08T04:20:11.302" v="9409" actId="14100"/>
          <ac:graphicFrameMkLst>
            <pc:docMk/>
            <pc:sldMk cId="156183180" sldId="2147473785"/>
            <ac:graphicFrameMk id="2" creationId="{C07E3B50-87A3-1547-1353-E9A6F97C2E5A}"/>
          </ac:graphicFrameMkLst>
        </pc:graphicFrameChg>
        <pc:graphicFrameChg chg="del mod">
          <ac:chgData name="Tường SKHĐT" userId="ab9568c39a88b08a" providerId="LiveId" clId="{BE80218A-C675-4EC2-AD94-24A89D98EEE1}" dt="2023-06-08T04:18:07.481" v="9397" actId="21"/>
          <ac:graphicFrameMkLst>
            <pc:docMk/>
            <pc:sldMk cId="156183180" sldId="2147473785"/>
            <ac:graphicFrameMk id="4" creationId="{EB059C7D-2717-B6C4-E6B6-5435DB51E67F}"/>
          </ac:graphicFrameMkLst>
        </pc:graphicFrameChg>
      </pc:sldChg>
      <pc:sldChg chg="modSp add mod">
        <pc:chgData name="Tường SKHĐT" userId="ab9568c39a88b08a" providerId="LiveId" clId="{BE80218A-C675-4EC2-AD94-24A89D98EEE1}" dt="2023-06-07T10:17:03.603" v="5166" actId="14100"/>
        <pc:sldMkLst>
          <pc:docMk/>
          <pc:sldMk cId="4232641420" sldId="2147473786"/>
        </pc:sldMkLst>
        <pc:spChg chg="mod">
          <ac:chgData name="Tường SKHĐT" userId="ab9568c39a88b08a" providerId="LiveId" clId="{BE80218A-C675-4EC2-AD94-24A89D98EEE1}" dt="2023-06-07T07:50:00.356" v="2555" actId="20577"/>
          <ac:spMkLst>
            <pc:docMk/>
            <pc:sldMk cId="4232641420" sldId="2147473786"/>
            <ac:spMk id="3" creationId="{9363D8CF-2C85-3BF9-B7BB-9B85B15F2F06}"/>
          </ac:spMkLst>
        </pc:spChg>
        <pc:graphicFrameChg chg="mod">
          <ac:chgData name="Tường SKHĐT" userId="ab9568c39a88b08a" providerId="LiveId" clId="{BE80218A-C675-4EC2-AD94-24A89D98EEE1}" dt="2023-06-07T10:17:03.603" v="5166" actId="14100"/>
          <ac:graphicFrameMkLst>
            <pc:docMk/>
            <pc:sldMk cId="4232641420" sldId="2147473786"/>
            <ac:graphicFrameMk id="2" creationId="{BFE6691C-E16E-33FF-D926-977E7FBC6CC5}"/>
          </ac:graphicFrameMkLst>
        </pc:graphicFrameChg>
      </pc:sldChg>
      <pc:sldChg chg="delSp modSp add mod">
        <pc:chgData name="Tường SKHĐT" userId="ab9568c39a88b08a" providerId="LiveId" clId="{BE80218A-C675-4EC2-AD94-24A89D98EEE1}" dt="2023-06-08T03:10:54.153" v="9181" actId="14100"/>
        <pc:sldMkLst>
          <pc:docMk/>
          <pc:sldMk cId="4129011505" sldId="2147473787"/>
        </pc:sldMkLst>
        <pc:spChg chg="mod">
          <ac:chgData name="Tường SKHĐT" userId="ab9568c39a88b08a" providerId="LiveId" clId="{BE80218A-C675-4EC2-AD94-24A89D98EEE1}" dt="2023-06-08T03:10:15.529" v="9174" actId="1076"/>
          <ac:spMkLst>
            <pc:docMk/>
            <pc:sldMk cId="4129011505" sldId="2147473787"/>
            <ac:spMk id="5" creationId="{9CBC7A17-9F40-F9E2-3D14-0D173740B2FD}"/>
          </ac:spMkLst>
        </pc:spChg>
        <pc:graphicFrameChg chg="del">
          <ac:chgData name="Tường SKHĐT" userId="ab9568c39a88b08a" providerId="LiveId" clId="{BE80218A-C675-4EC2-AD94-24A89D98EEE1}" dt="2023-06-07T07:50:12.607" v="2567" actId="21"/>
          <ac:graphicFrameMkLst>
            <pc:docMk/>
            <pc:sldMk cId="4129011505" sldId="2147473787"/>
            <ac:graphicFrameMk id="2" creationId="{74B794F2-F444-5B57-9140-254BFF55A77F}"/>
          </ac:graphicFrameMkLst>
        </pc:graphicFrameChg>
        <pc:graphicFrameChg chg="del mod">
          <ac:chgData name="Tường SKHĐT" userId="ab9568c39a88b08a" providerId="LiveId" clId="{BE80218A-C675-4EC2-AD94-24A89D98EEE1}" dt="2023-06-08T03:10:00.370" v="9169" actId="21"/>
          <ac:graphicFrameMkLst>
            <pc:docMk/>
            <pc:sldMk cId="4129011505" sldId="2147473787"/>
            <ac:graphicFrameMk id="2" creationId="{F952B670-10C5-B77B-85D8-0A3C1B9AA459}"/>
          </ac:graphicFrameMkLst>
        </pc:graphicFrameChg>
        <pc:graphicFrameChg chg="del mod">
          <ac:chgData name="Tường SKHĐT" userId="ab9568c39a88b08a" providerId="LiveId" clId="{BE80218A-C675-4EC2-AD94-24A89D98EEE1}" dt="2023-06-08T03:10:40.246" v="9176" actId="21"/>
          <ac:graphicFrameMkLst>
            <pc:docMk/>
            <pc:sldMk cId="4129011505" sldId="2147473787"/>
            <ac:graphicFrameMk id="3" creationId="{B80141FB-D12A-F7AB-9435-8DEB06333368}"/>
          </ac:graphicFrameMkLst>
        </pc:graphicFrameChg>
        <pc:graphicFrameChg chg="del mod">
          <ac:chgData name="Tường SKHĐT" userId="ab9568c39a88b08a" providerId="LiveId" clId="{BE80218A-C675-4EC2-AD94-24A89D98EEE1}" dt="2023-06-07T09:52:47.481" v="3527" actId="21"/>
          <ac:graphicFrameMkLst>
            <pc:docMk/>
            <pc:sldMk cId="4129011505" sldId="2147473787"/>
            <ac:graphicFrameMk id="3" creationId="{BE470081-4788-B470-D3C1-D07F4CD54F41}"/>
          </ac:graphicFrameMkLst>
        </pc:graphicFrameChg>
        <pc:graphicFrameChg chg="mod">
          <ac:chgData name="Tường SKHĐT" userId="ab9568c39a88b08a" providerId="LiveId" clId="{BE80218A-C675-4EC2-AD94-24A89D98EEE1}" dt="2023-06-08T03:10:54.153" v="9181" actId="14100"/>
          <ac:graphicFrameMkLst>
            <pc:docMk/>
            <pc:sldMk cId="4129011505" sldId="2147473787"/>
            <ac:graphicFrameMk id="4" creationId="{1E1F54CE-C9BF-155A-D488-BEAB0B32BA2A}"/>
          </ac:graphicFrameMkLst>
        </pc:graphicFrameChg>
      </pc:sldChg>
      <pc:sldChg chg="modSp add mod">
        <pc:chgData name="Tường SKHĐT" userId="ab9568c39a88b08a" providerId="LiveId" clId="{BE80218A-C675-4EC2-AD94-24A89D98EEE1}" dt="2023-06-07T09:45:47.859" v="3448" actId="14100"/>
        <pc:sldMkLst>
          <pc:docMk/>
          <pc:sldMk cId="2710295661" sldId="2147473788"/>
        </pc:sldMkLst>
        <pc:spChg chg="mod">
          <ac:chgData name="Tường SKHĐT" userId="ab9568c39a88b08a" providerId="LiveId" clId="{BE80218A-C675-4EC2-AD94-24A89D98EEE1}" dt="2023-06-07T07:50:19.581" v="2602" actId="20577"/>
          <ac:spMkLst>
            <pc:docMk/>
            <pc:sldMk cId="2710295661" sldId="2147473788"/>
            <ac:spMk id="5" creationId="{9CBC7A17-9F40-F9E2-3D14-0D173740B2FD}"/>
          </ac:spMkLst>
        </pc:spChg>
        <pc:graphicFrameChg chg="mod">
          <ac:chgData name="Tường SKHĐT" userId="ab9568c39a88b08a" providerId="LiveId" clId="{BE80218A-C675-4EC2-AD94-24A89D98EEE1}" dt="2023-06-07T09:45:47.859" v="3448" actId="14100"/>
          <ac:graphicFrameMkLst>
            <pc:docMk/>
            <pc:sldMk cId="2710295661" sldId="2147473788"/>
            <ac:graphicFrameMk id="2" creationId="{0C996FA6-9C08-A387-356B-3D6804031C5B}"/>
          </ac:graphicFrameMkLst>
        </pc:graphicFrameChg>
      </pc:sldChg>
      <pc:sldChg chg="addSp delSp modSp add del mod">
        <pc:chgData name="Tường SKHĐT" userId="ab9568c39a88b08a" providerId="LiveId" clId="{BE80218A-C675-4EC2-AD94-24A89D98EEE1}" dt="2023-06-07T09:41:55.778" v="3443" actId="2696"/>
        <pc:sldMkLst>
          <pc:docMk/>
          <pc:sldMk cId="2150765548" sldId="2147473789"/>
        </pc:sldMkLst>
        <pc:graphicFrameChg chg="mod modGraphic">
          <ac:chgData name="Tường SKHĐT" userId="ab9568c39a88b08a" providerId="LiveId" clId="{BE80218A-C675-4EC2-AD94-24A89D98EEE1}" dt="2023-06-07T09:32:28.374" v="3029" actId="14734"/>
          <ac:graphicFrameMkLst>
            <pc:docMk/>
            <pc:sldMk cId="2150765548" sldId="2147473789"/>
            <ac:graphicFrameMk id="2" creationId="{F0F002C0-4BF7-EF15-276A-B2D2E537FE49}"/>
          </ac:graphicFrameMkLst>
        </pc:graphicFrameChg>
        <pc:graphicFrameChg chg="add mod modGraphic">
          <ac:chgData name="Tường SKHĐT" userId="ab9568c39a88b08a" providerId="LiveId" clId="{BE80218A-C675-4EC2-AD94-24A89D98EEE1}" dt="2023-06-07T09:33:06.646" v="3084" actId="20577"/>
          <ac:graphicFrameMkLst>
            <pc:docMk/>
            <pc:sldMk cId="2150765548" sldId="2147473789"/>
            <ac:graphicFrameMk id="4" creationId="{8B2A91AF-00C2-B55E-A461-E4F4D180C7EB}"/>
          </ac:graphicFrameMkLst>
        </pc:graphicFrameChg>
        <pc:graphicFrameChg chg="del">
          <ac:chgData name="Tường SKHĐT" userId="ab9568c39a88b08a" providerId="LiveId" clId="{BE80218A-C675-4EC2-AD94-24A89D98EEE1}" dt="2023-06-07T09:29:49.859" v="2983" actId="21"/>
          <ac:graphicFrameMkLst>
            <pc:docMk/>
            <pc:sldMk cId="2150765548" sldId="2147473789"/>
            <ac:graphicFrameMk id="8" creationId="{B5E5335D-2EED-82AF-3A59-FAE8BB94EAE1}"/>
          </ac:graphicFrameMkLst>
        </pc:graphicFrameChg>
        <pc:picChg chg="del">
          <ac:chgData name="Tường SKHĐT" userId="ab9568c39a88b08a" providerId="LiveId" clId="{BE80218A-C675-4EC2-AD94-24A89D98EEE1}" dt="2023-06-07T09:29:47.379" v="2982" actId="478"/>
          <ac:picMkLst>
            <pc:docMk/>
            <pc:sldMk cId="2150765548" sldId="2147473789"/>
            <ac:picMk id="3" creationId="{9AF740F2-8657-5D2B-1E99-EF2B0034363B}"/>
          </ac:picMkLst>
        </pc:picChg>
        <pc:picChg chg="del">
          <ac:chgData name="Tường SKHĐT" userId="ab9568c39a88b08a" providerId="LiveId" clId="{BE80218A-C675-4EC2-AD94-24A89D98EEE1}" dt="2023-06-07T09:29:46.675" v="2981" actId="478"/>
          <ac:picMkLst>
            <pc:docMk/>
            <pc:sldMk cId="2150765548" sldId="2147473789"/>
            <ac:picMk id="7" creationId="{5CDE7AB5-FCC7-E08F-A14A-12072FF36A97}"/>
          </ac:picMkLst>
        </pc:picChg>
      </pc:sldChg>
      <pc:sldChg chg="delSp modSp add mod">
        <pc:chgData name="Tường SKHĐT" userId="ab9568c39a88b08a" providerId="LiveId" clId="{BE80218A-C675-4EC2-AD94-24A89D98EEE1}" dt="2023-06-08T02:57:51.843" v="9055" actId="14100"/>
        <pc:sldMkLst>
          <pc:docMk/>
          <pc:sldMk cId="1731010684" sldId="2147473790"/>
        </pc:sldMkLst>
        <pc:graphicFrameChg chg="del">
          <ac:chgData name="Tường SKHĐT" userId="ab9568c39a88b08a" providerId="LiveId" clId="{BE80218A-C675-4EC2-AD94-24A89D98EEE1}" dt="2023-06-07T09:34:34.271" v="3086" actId="21"/>
          <ac:graphicFrameMkLst>
            <pc:docMk/>
            <pc:sldMk cId="1731010684" sldId="2147473790"/>
            <ac:graphicFrameMk id="2" creationId="{F0F002C0-4BF7-EF15-276A-B2D2E537FE49}"/>
          </ac:graphicFrameMkLst>
        </pc:graphicFrameChg>
        <pc:graphicFrameChg chg="mod modGraphic">
          <ac:chgData name="Tường SKHĐT" userId="ab9568c39a88b08a" providerId="LiveId" clId="{BE80218A-C675-4EC2-AD94-24A89D98EEE1}" dt="2023-06-08T02:57:51.843" v="9055" actId="14100"/>
          <ac:graphicFrameMkLst>
            <pc:docMk/>
            <pc:sldMk cId="1731010684" sldId="2147473790"/>
            <ac:graphicFrameMk id="3" creationId="{D79F22DC-D739-66FE-CC98-638D607EB359}"/>
          </ac:graphicFrameMkLst>
        </pc:graphicFrameChg>
        <pc:graphicFrameChg chg="mod modGraphic">
          <ac:chgData name="Tường SKHĐT" userId="ab9568c39a88b08a" providerId="LiveId" clId="{BE80218A-C675-4EC2-AD94-24A89D98EEE1}" dt="2023-06-08T02:57:49.699" v="9054" actId="1076"/>
          <ac:graphicFrameMkLst>
            <pc:docMk/>
            <pc:sldMk cId="1731010684" sldId="2147473790"/>
            <ac:graphicFrameMk id="4" creationId="{8B2A91AF-00C2-B55E-A461-E4F4D180C7EB}"/>
          </ac:graphicFrameMkLst>
        </pc:graphicFrameChg>
      </pc:sldChg>
      <pc:sldChg chg="delSp modSp add mod">
        <pc:chgData name="Tường SKHĐT" userId="ab9568c39a88b08a" providerId="LiveId" clId="{BE80218A-C675-4EC2-AD94-24A89D98EEE1}" dt="2023-06-08T02:52:05.482" v="8497" actId="20577"/>
        <pc:sldMkLst>
          <pc:docMk/>
          <pc:sldMk cId="812425570" sldId="2147473791"/>
        </pc:sldMkLst>
        <pc:graphicFrameChg chg="mod">
          <ac:chgData name="Tường SKHĐT" userId="ab9568c39a88b08a" providerId="LiveId" clId="{BE80218A-C675-4EC2-AD94-24A89D98EEE1}" dt="2023-06-08T02:49:51.610" v="8481" actId="14100"/>
          <ac:graphicFrameMkLst>
            <pc:docMk/>
            <pc:sldMk cId="812425570" sldId="2147473791"/>
            <ac:graphicFrameMk id="2" creationId="{E6E86951-66A7-FC37-BDCB-1DAAF15D55F5}"/>
          </ac:graphicFrameMkLst>
        </pc:graphicFrameChg>
        <pc:graphicFrameChg chg="modGraphic">
          <ac:chgData name="Tường SKHĐT" userId="ab9568c39a88b08a" providerId="LiveId" clId="{BE80218A-C675-4EC2-AD94-24A89D98EEE1}" dt="2023-06-08T02:52:05.482" v="8497" actId="20577"/>
          <ac:graphicFrameMkLst>
            <pc:docMk/>
            <pc:sldMk cId="812425570" sldId="2147473791"/>
            <ac:graphicFrameMk id="3" creationId="{2B60E389-3C15-E216-2343-FACD1755B5AD}"/>
          </ac:graphicFrameMkLst>
        </pc:graphicFrameChg>
        <pc:graphicFrameChg chg="del">
          <ac:chgData name="Tường SKHĐT" userId="ab9568c39a88b08a" providerId="LiveId" clId="{BE80218A-C675-4EC2-AD94-24A89D98EEE1}" dt="2023-06-08T02:49:46.370" v="8479" actId="21"/>
          <ac:graphicFrameMkLst>
            <pc:docMk/>
            <pc:sldMk cId="812425570" sldId="2147473791"/>
            <ac:graphicFrameMk id="5" creationId="{A12A8C36-ABD5-9F37-3859-60C635D270CE}"/>
          </ac:graphicFrameMkLst>
        </pc:graphicFrameChg>
      </pc:sldChg>
      <pc:sldChg chg="addSp delSp modSp add mod">
        <pc:chgData name="Tường SKHĐT" userId="ab9568c39a88b08a" providerId="LiveId" clId="{BE80218A-C675-4EC2-AD94-24A89D98EEE1}" dt="2023-06-08T02:26:54.128" v="6610" actId="14100"/>
        <pc:sldMkLst>
          <pc:docMk/>
          <pc:sldMk cId="151479067" sldId="2147473792"/>
        </pc:sldMkLst>
        <pc:spChg chg="del">
          <ac:chgData name="Tường SKHĐT" userId="ab9568c39a88b08a" providerId="LiveId" clId="{BE80218A-C675-4EC2-AD94-24A89D98EEE1}" dt="2023-06-08T02:23:31.039" v="6588" actId="478"/>
          <ac:spMkLst>
            <pc:docMk/>
            <pc:sldMk cId="151479067" sldId="2147473792"/>
            <ac:spMk id="2" creationId="{80607D77-8D89-B2B8-17A1-5EC409702721}"/>
          </ac:spMkLst>
        </pc:spChg>
        <pc:spChg chg="del">
          <ac:chgData name="Tường SKHĐT" userId="ab9568c39a88b08a" providerId="LiveId" clId="{BE80218A-C675-4EC2-AD94-24A89D98EEE1}" dt="2023-06-08T02:23:35.620" v="6590" actId="21"/>
          <ac:spMkLst>
            <pc:docMk/>
            <pc:sldMk cId="151479067" sldId="2147473792"/>
            <ac:spMk id="3" creationId="{A0D5D58A-756E-802D-A09E-1BEA6D184E77}"/>
          </ac:spMkLst>
        </pc:spChg>
        <pc:spChg chg="del">
          <ac:chgData name="Tường SKHĐT" userId="ab9568c39a88b08a" providerId="LiveId" clId="{BE80218A-C675-4EC2-AD94-24A89D98EEE1}" dt="2023-06-08T02:23:26.018" v="6584" actId="478"/>
          <ac:spMkLst>
            <pc:docMk/>
            <pc:sldMk cId="151479067" sldId="2147473792"/>
            <ac:spMk id="4" creationId="{BBC7EEBC-AFA3-C4AC-D803-2EB717E2AF16}"/>
          </ac:spMkLst>
        </pc:spChg>
        <pc:spChg chg="del">
          <ac:chgData name="Tường SKHĐT" userId="ab9568c39a88b08a" providerId="LiveId" clId="{BE80218A-C675-4EC2-AD94-24A89D98EEE1}" dt="2023-06-08T02:23:38.583" v="6591" actId="21"/>
          <ac:spMkLst>
            <pc:docMk/>
            <pc:sldMk cId="151479067" sldId="2147473792"/>
            <ac:spMk id="6" creationId="{81B6DC98-C123-5771-E46D-17ED3EE03739}"/>
          </ac:spMkLst>
        </pc:spChg>
        <pc:spChg chg="del">
          <ac:chgData name="Tường SKHĐT" userId="ab9568c39a88b08a" providerId="LiveId" clId="{BE80218A-C675-4EC2-AD94-24A89D98EEE1}" dt="2023-06-08T02:23:26.018" v="6584" actId="478"/>
          <ac:spMkLst>
            <pc:docMk/>
            <pc:sldMk cId="151479067" sldId="2147473792"/>
            <ac:spMk id="7" creationId="{64BE4B93-62E9-2F63-31E4-4FC00E3A7867}"/>
          </ac:spMkLst>
        </pc:spChg>
        <pc:spChg chg="add mod">
          <ac:chgData name="Tường SKHĐT" userId="ab9568c39a88b08a" providerId="LiveId" clId="{BE80218A-C675-4EC2-AD94-24A89D98EEE1}" dt="2023-06-08T02:25:54.580" v="6606" actId="1076"/>
          <ac:spMkLst>
            <pc:docMk/>
            <pc:sldMk cId="151479067" sldId="2147473792"/>
            <ac:spMk id="9" creationId="{22359E8A-8D97-394A-42E1-F5A568F7E097}"/>
          </ac:spMkLst>
        </pc:spChg>
        <pc:spChg chg="del mod">
          <ac:chgData name="Tường SKHĐT" userId="ab9568c39a88b08a" providerId="LiveId" clId="{BE80218A-C675-4EC2-AD94-24A89D98EEE1}" dt="2023-06-08T02:23:33.364" v="6589" actId="478"/>
          <ac:spMkLst>
            <pc:docMk/>
            <pc:sldMk cId="151479067" sldId="2147473792"/>
            <ac:spMk id="12" creationId="{850931EF-4279-23FD-6428-18C12049025E}"/>
          </ac:spMkLst>
        </pc:spChg>
        <pc:spChg chg="del">
          <ac:chgData name="Tường SKHĐT" userId="ab9568c39a88b08a" providerId="LiveId" clId="{BE80218A-C675-4EC2-AD94-24A89D98EEE1}" dt="2023-06-08T02:23:26.018" v="6584" actId="478"/>
          <ac:spMkLst>
            <pc:docMk/>
            <pc:sldMk cId="151479067" sldId="2147473792"/>
            <ac:spMk id="13" creationId="{CFB1DF66-0E98-FC84-B508-AAB8AC25D4B3}"/>
          </ac:spMkLst>
        </pc:spChg>
        <pc:spChg chg="del">
          <ac:chgData name="Tường SKHĐT" userId="ab9568c39a88b08a" providerId="LiveId" clId="{BE80218A-C675-4EC2-AD94-24A89D98EEE1}" dt="2023-06-08T02:23:26.018" v="6584" actId="478"/>
          <ac:spMkLst>
            <pc:docMk/>
            <pc:sldMk cId="151479067" sldId="2147473792"/>
            <ac:spMk id="14" creationId="{2FB61F8A-9A24-43C5-EEAD-699E1478B087}"/>
          </ac:spMkLst>
        </pc:spChg>
        <pc:spChg chg="del">
          <ac:chgData name="Tường SKHĐT" userId="ab9568c39a88b08a" providerId="LiveId" clId="{BE80218A-C675-4EC2-AD94-24A89D98EEE1}" dt="2023-06-08T02:23:26.018" v="6584" actId="478"/>
          <ac:spMkLst>
            <pc:docMk/>
            <pc:sldMk cId="151479067" sldId="2147473792"/>
            <ac:spMk id="15" creationId="{741F0E28-9B46-DEE8-72B4-31C74A048999}"/>
          </ac:spMkLst>
        </pc:spChg>
        <pc:spChg chg="del">
          <ac:chgData name="Tường SKHĐT" userId="ab9568c39a88b08a" providerId="LiveId" clId="{BE80218A-C675-4EC2-AD94-24A89D98EEE1}" dt="2023-06-08T02:23:26.018" v="6584" actId="478"/>
          <ac:spMkLst>
            <pc:docMk/>
            <pc:sldMk cId="151479067" sldId="2147473792"/>
            <ac:spMk id="16" creationId="{CD1FFBD1-4EFA-ED54-8F81-E3C9559069D4}"/>
          </ac:spMkLst>
        </pc:spChg>
        <pc:spChg chg="del">
          <ac:chgData name="Tường SKHĐT" userId="ab9568c39a88b08a" providerId="LiveId" clId="{BE80218A-C675-4EC2-AD94-24A89D98EEE1}" dt="2023-06-08T02:23:26.018" v="6584" actId="478"/>
          <ac:spMkLst>
            <pc:docMk/>
            <pc:sldMk cId="151479067" sldId="2147473792"/>
            <ac:spMk id="19" creationId="{122A9A1C-AFFE-3821-B2D0-B1BF037AF2EA}"/>
          </ac:spMkLst>
        </pc:spChg>
        <pc:spChg chg="del">
          <ac:chgData name="Tường SKHĐT" userId="ab9568c39a88b08a" providerId="LiveId" clId="{BE80218A-C675-4EC2-AD94-24A89D98EEE1}" dt="2023-06-08T02:23:26.018" v="6584" actId="478"/>
          <ac:spMkLst>
            <pc:docMk/>
            <pc:sldMk cId="151479067" sldId="2147473792"/>
            <ac:spMk id="20" creationId="{9EFE970E-0B98-B556-3A4B-E26C7CAD10CA}"/>
          </ac:spMkLst>
        </pc:spChg>
        <pc:spChg chg="mod">
          <ac:chgData name="Tường SKHĐT" userId="ab9568c39a88b08a" providerId="LiveId" clId="{BE80218A-C675-4EC2-AD94-24A89D98EEE1}" dt="2023-06-08T02:25:50.642" v="6605" actId="20577"/>
          <ac:spMkLst>
            <pc:docMk/>
            <pc:sldMk cId="151479067" sldId="2147473792"/>
            <ac:spMk id="27" creationId="{01DC26C3-E6F4-C27A-8624-3A65D81B6008}"/>
          </ac:spMkLst>
        </pc:spChg>
        <pc:spChg chg="del">
          <ac:chgData name="Tường SKHĐT" userId="ab9568c39a88b08a" providerId="LiveId" clId="{BE80218A-C675-4EC2-AD94-24A89D98EEE1}" dt="2023-06-08T02:23:29.559" v="6586" actId="478"/>
          <ac:spMkLst>
            <pc:docMk/>
            <pc:sldMk cId="151479067" sldId="2147473792"/>
            <ac:spMk id="718" creationId="{00000000-0000-0000-0000-000000000000}"/>
          </ac:spMkLst>
        </pc:spChg>
        <pc:spChg chg="del">
          <ac:chgData name="Tường SKHĐT" userId="ab9568c39a88b08a" providerId="LiveId" clId="{BE80218A-C675-4EC2-AD94-24A89D98EEE1}" dt="2023-06-08T02:23:28.919" v="6585" actId="478"/>
          <ac:spMkLst>
            <pc:docMk/>
            <pc:sldMk cId="151479067" sldId="2147473792"/>
            <ac:spMk id="719"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0"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4"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5"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6"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30" creationId="{76FC2223-CBDC-4B1C-A8C6-0DBB61B65684}"/>
          </ac:spMkLst>
        </pc:spChg>
        <pc:graphicFrameChg chg="del mod">
          <ac:chgData name="Tường SKHĐT" userId="ab9568c39a88b08a" providerId="LiveId" clId="{BE80218A-C675-4EC2-AD94-24A89D98EEE1}" dt="2023-06-08T02:26:40.597" v="6607" actId="21"/>
          <ac:graphicFrameMkLst>
            <pc:docMk/>
            <pc:sldMk cId="151479067" sldId="2147473792"/>
            <ac:graphicFrameMk id="8" creationId="{48610349-6D4D-58A8-26B3-A828CC1F4557}"/>
          </ac:graphicFrameMkLst>
        </pc:graphicFrameChg>
        <pc:graphicFrameChg chg="mod">
          <ac:chgData name="Tường SKHĐT" userId="ab9568c39a88b08a" providerId="LiveId" clId="{BE80218A-C675-4EC2-AD94-24A89D98EEE1}" dt="2023-06-08T02:26:54.128" v="6610" actId="14100"/>
          <ac:graphicFrameMkLst>
            <pc:docMk/>
            <pc:sldMk cId="151479067" sldId="2147473792"/>
            <ac:graphicFrameMk id="10" creationId="{B7D42763-B167-ACDC-27DF-8D808E8EF944}"/>
          </ac:graphicFrameMkLst>
        </pc:graphicFrameChg>
        <pc:picChg chg="del">
          <ac:chgData name="Tường SKHĐT" userId="ab9568c39a88b08a" providerId="LiveId" clId="{BE80218A-C675-4EC2-AD94-24A89D98EEE1}" dt="2023-06-08T02:23:26.018" v="6584" actId="478"/>
          <ac:picMkLst>
            <pc:docMk/>
            <pc:sldMk cId="151479067" sldId="2147473792"/>
            <ac:picMk id="5" creationId="{FA953A66-BAF1-340A-A407-B9DFF5A3A068}"/>
          </ac:picMkLst>
        </pc:picChg>
        <pc:cxnChg chg="del">
          <ac:chgData name="Tường SKHĐT" userId="ab9568c39a88b08a" providerId="LiveId" clId="{BE80218A-C675-4EC2-AD94-24A89D98EEE1}" dt="2023-06-08T02:23:26.018" v="6584" actId="478"/>
          <ac:cxnSpMkLst>
            <pc:docMk/>
            <pc:sldMk cId="151479067" sldId="2147473792"/>
            <ac:cxnSpMk id="22" creationId="{76FB1604-8EE6-1B4A-8BEC-955916948809}"/>
          </ac:cxnSpMkLst>
        </pc:cxnChg>
        <pc:cxnChg chg="del">
          <ac:chgData name="Tường SKHĐT" userId="ab9568c39a88b08a" providerId="LiveId" clId="{BE80218A-C675-4EC2-AD94-24A89D98EEE1}" dt="2023-06-08T02:23:26.018" v="6584" actId="478"/>
          <ac:cxnSpMkLst>
            <pc:docMk/>
            <pc:sldMk cId="151479067" sldId="2147473792"/>
            <ac:cxnSpMk id="24" creationId="{4E2C09AD-1B29-015F-4185-E01171AA1855}"/>
          </ac:cxnSpMkLst>
        </pc:cxnChg>
        <pc:cxnChg chg="del">
          <ac:chgData name="Tường SKHĐT" userId="ab9568c39a88b08a" providerId="LiveId" clId="{BE80218A-C675-4EC2-AD94-24A89D98EEE1}" dt="2023-06-08T02:23:26.018" v="6584" actId="478"/>
          <ac:cxnSpMkLst>
            <pc:docMk/>
            <pc:sldMk cId="151479067" sldId="2147473792"/>
            <ac:cxnSpMk id="26" creationId="{169C6F43-6D5B-95B4-AB42-3B41CFB5B6B7}"/>
          </ac:cxnSpMkLst>
        </pc:cxnChg>
      </pc:sldChg>
      <pc:sldChg chg="add del">
        <pc:chgData name="Tường SKHĐT" userId="ab9568c39a88b08a" providerId="LiveId" clId="{BE80218A-C675-4EC2-AD94-24A89D98EEE1}" dt="2023-06-08T04:17:48.250" v="9395" actId="2696"/>
        <pc:sldMkLst>
          <pc:docMk/>
          <pc:sldMk cId="573534521" sldId="2147473793"/>
        </pc:sldMkLst>
      </pc:sldChg>
      <pc:sldChg chg="modSp add mod">
        <pc:chgData name="Tường SKHĐT" userId="ab9568c39a88b08a" providerId="LiveId" clId="{BE80218A-C675-4EC2-AD94-24A89D98EEE1}" dt="2023-06-08T07:42:22.083" v="9695" actId="20577"/>
        <pc:sldMkLst>
          <pc:docMk/>
          <pc:sldMk cId="1616590400" sldId="2147473793"/>
        </pc:sldMkLst>
        <pc:graphicFrameChg chg="mod modGraphic">
          <ac:chgData name="Tường SKHĐT" userId="ab9568c39a88b08a" providerId="LiveId" clId="{BE80218A-C675-4EC2-AD94-24A89D98EEE1}" dt="2023-06-08T07:42:22.083" v="9695" actId="20577"/>
          <ac:graphicFrameMkLst>
            <pc:docMk/>
            <pc:sldMk cId="1616590400" sldId="2147473793"/>
            <ac:graphicFrameMk id="3" creationId="{2B60E389-3C15-E216-2343-FACD1755B5AD}"/>
          </ac:graphicFrameMkLst>
        </pc:graphicFrameChg>
      </pc:sldChg>
      <pc:sldChg chg="add del">
        <pc:chgData name="Tường SKHĐT" userId="ab9568c39a88b08a" providerId="LiveId" clId="{BE80218A-C675-4EC2-AD94-24A89D98EEE1}" dt="2023-06-08T07:23:13.294" v="9436" actId="2696"/>
        <pc:sldMkLst>
          <pc:docMk/>
          <pc:sldMk cId="2159402894" sldId="2147473793"/>
        </pc:sldMkLst>
      </pc:sldChg>
      <pc:sldChg chg="add del">
        <pc:chgData name="Tường SKHĐT" userId="ab9568c39a88b08a" providerId="LiveId" clId="{BE80218A-C675-4EC2-AD94-24A89D98EEE1}" dt="2023-06-08T04:20:17.097" v="9410" actId="2696"/>
        <pc:sldMkLst>
          <pc:docMk/>
          <pc:sldMk cId="2499444697" sldId="2147473793"/>
        </pc:sldMkLst>
      </pc:sldChg>
      <pc:sldChg chg="add del">
        <pc:chgData name="Tường SKHĐT" userId="ab9568c39a88b08a" providerId="LiveId" clId="{BE80218A-C675-4EC2-AD94-24A89D98EEE1}" dt="2023-06-08T07:21:17.045" v="9431" actId="2696"/>
        <pc:sldMkLst>
          <pc:docMk/>
          <pc:sldMk cId="2628435380" sldId="2147473793"/>
        </pc:sldMkLst>
      </pc:sldChg>
      <pc:sldChg chg="modSp add mod">
        <pc:chgData name="Tường SKHĐT" userId="ab9568c39a88b08a" providerId="LiveId" clId="{BE80218A-C675-4EC2-AD94-24A89D98EEE1}" dt="2023-06-08T07:40:10.286" v="9670" actId="20577"/>
        <pc:sldMkLst>
          <pc:docMk/>
          <pc:sldMk cId="2895207599" sldId="2147473794"/>
        </pc:sldMkLst>
        <pc:spChg chg="mod">
          <ac:chgData name="Tường SKHĐT" userId="ab9568c39a88b08a" providerId="LiveId" clId="{BE80218A-C675-4EC2-AD94-24A89D98EEE1}" dt="2023-06-08T07:38:31.910" v="9488" actId="1076"/>
          <ac:spMkLst>
            <pc:docMk/>
            <pc:sldMk cId="2895207599" sldId="2147473794"/>
            <ac:spMk id="2" creationId="{BB7D8E9C-B3F6-DD25-25B6-76818EE92AE6}"/>
          </ac:spMkLst>
        </pc:spChg>
        <pc:graphicFrameChg chg="mod modGraphic">
          <ac:chgData name="Tường SKHĐT" userId="ab9568c39a88b08a" providerId="LiveId" clId="{BE80218A-C675-4EC2-AD94-24A89D98EEE1}" dt="2023-06-08T07:40:10.286" v="9670" actId="20577"/>
          <ac:graphicFrameMkLst>
            <pc:docMk/>
            <pc:sldMk cId="2895207599" sldId="2147473794"/>
            <ac:graphicFrameMk id="3" creationId="{2B60E389-3C15-E216-2343-FACD1755B5AD}"/>
          </ac:graphicFrameMkLst>
        </pc:graphicFrameChg>
      </pc:sldChg>
      <pc:sldChg chg="delSp modSp add mod">
        <pc:chgData name="Tường SKHĐT" userId="ab9568c39a88b08a" providerId="LiveId" clId="{BE80218A-C675-4EC2-AD94-24A89D98EEE1}" dt="2023-06-08T07:49:06.856" v="10067" actId="20577"/>
        <pc:sldMkLst>
          <pc:docMk/>
          <pc:sldMk cId="2339715236" sldId="2147473795"/>
        </pc:sldMkLst>
        <pc:spChg chg="mod">
          <ac:chgData name="Tường SKHĐT" userId="ab9568c39a88b08a" providerId="LiveId" clId="{BE80218A-C675-4EC2-AD94-24A89D98EEE1}" dt="2023-06-08T07:43:35.658" v="9737" actId="20577"/>
          <ac:spMkLst>
            <pc:docMk/>
            <pc:sldMk cId="2339715236" sldId="2147473795"/>
            <ac:spMk id="9" creationId="{58F24AD0-F007-A590-583C-27B1A4CE0310}"/>
          </ac:spMkLst>
        </pc:spChg>
        <pc:graphicFrameChg chg="mod modGraphic">
          <ac:chgData name="Tường SKHĐT" userId="ab9568c39a88b08a" providerId="LiveId" clId="{BE80218A-C675-4EC2-AD94-24A89D98EEE1}" dt="2023-06-08T07:49:06.856" v="10067" actId="20577"/>
          <ac:graphicFrameMkLst>
            <pc:docMk/>
            <pc:sldMk cId="2339715236" sldId="2147473795"/>
            <ac:graphicFrameMk id="3" creationId="{1243D2EC-FD70-31EF-486E-0289B57D5A19}"/>
          </ac:graphicFrameMkLst>
        </pc:graphicFrameChg>
        <pc:graphicFrameChg chg="del">
          <ac:chgData name="Tường SKHĐT" userId="ab9568c39a88b08a" providerId="LiveId" clId="{BE80218A-C675-4EC2-AD94-24A89D98EEE1}" dt="2023-06-08T07:43:29.532" v="9734" actId="21"/>
          <ac:graphicFrameMkLst>
            <pc:docMk/>
            <pc:sldMk cId="2339715236" sldId="2147473795"/>
            <ac:graphicFrameMk id="5" creationId="{451E805E-275E-1A0E-FDC4-B15B1F672CF6}"/>
          </ac:graphicFrameMkLst>
        </pc:graphicFrameChg>
      </pc:sldChg>
    </pc:docChg>
  </pc:docChgLst>
  <pc:docChgLst>
    <pc:chgData name="Tường SKHĐT" userId="ab9568c39a88b08a" providerId="LiveId" clId="{34CB8DE4-BD92-49C7-8DE4-35477F9069EC}"/>
    <pc:docChg chg="undo custSel addSld delSld modSld sldOrd">
      <pc:chgData name="Tường SKHĐT" userId="ab9568c39a88b08a" providerId="LiveId" clId="{34CB8DE4-BD92-49C7-8DE4-35477F9069EC}" dt="2023-06-13T09:14:42.477" v="1096" actId="20577"/>
      <pc:docMkLst>
        <pc:docMk/>
      </pc:docMkLst>
      <pc:sldChg chg="delSp modSp mod">
        <pc:chgData name="Tường SKHĐT" userId="ab9568c39a88b08a" providerId="LiveId" clId="{34CB8DE4-BD92-49C7-8DE4-35477F9069EC}" dt="2023-06-12T07:43:07.768" v="164" actId="21"/>
        <pc:sldMkLst>
          <pc:docMk/>
          <pc:sldMk cId="1596329165" sldId="455"/>
        </pc:sldMkLst>
        <pc:spChg chg="del mod">
          <ac:chgData name="Tường SKHĐT" userId="ab9568c39a88b08a" providerId="LiveId" clId="{34CB8DE4-BD92-49C7-8DE4-35477F9069EC}" dt="2023-06-12T07:43:07.768" v="164" actId="21"/>
          <ac:spMkLst>
            <pc:docMk/>
            <pc:sldMk cId="1596329165" sldId="455"/>
            <ac:spMk id="27" creationId="{87251008-0654-48EC-B85B-8EA2BB576990}"/>
          </ac:spMkLst>
        </pc:spChg>
      </pc:sldChg>
      <pc:sldChg chg="modSp">
        <pc:chgData name="Tường SKHĐT" userId="ab9568c39a88b08a" providerId="LiveId" clId="{34CB8DE4-BD92-49C7-8DE4-35477F9069EC}" dt="2023-06-12T08:30:24.526" v="844" actId="20577"/>
        <pc:sldMkLst>
          <pc:docMk/>
          <pc:sldMk cId="2016091477" sldId="608"/>
        </pc:sldMkLst>
        <pc:graphicFrameChg chg="mod">
          <ac:chgData name="Tường SKHĐT" userId="ab9568c39a88b08a" providerId="LiveId" clId="{34CB8DE4-BD92-49C7-8DE4-35477F9069EC}" dt="2023-06-12T08:30:24.526" v="844" actId="20577"/>
          <ac:graphicFrameMkLst>
            <pc:docMk/>
            <pc:sldMk cId="2016091477" sldId="608"/>
            <ac:graphicFrameMk id="6" creationId="{00000000-0000-0000-0000-000000000000}"/>
          </ac:graphicFrameMkLst>
        </pc:graphicFrameChg>
      </pc:sldChg>
      <pc:sldChg chg="modSp mod">
        <pc:chgData name="Tường SKHĐT" userId="ab9568c39a88b08a" providerId="LiveId" clId="{34CB8DE4-BD92-49C7-8DE4-35477F9069EC}" dt="2023-06-12T08:27:32.446" v="802" actId="20577"/>
        <pc:sldMkLst>
          <pc:docMk/>
          <pc:sldMk cId="2802465441" sldId="2147473522"/>
        </pc:sldMkLst>
        <pc:spChg chg="mod">
          <ac:chgData name="Tường SKHĐT" userId="ab9568c39a88b08a" providerId="LiveId" clId="{34CB8DE4-BD92-49C7-8DE4-35477F9069EC}" dt="2023-06-12T08:27:32.446" v="802" actId="20577"/>
          <ac:spMkLst>
            <pc:docMk/>
            <pc:sldMk cId="2802465441" sldId="2147473522"/>
            <ac:spMk id="25" creationId="{01DC26C3-E6F4-C27A-8624-3A65D81B6008}"/>
          </ac:spMkLst>
        </pc:spChg>
      </pc:sldChg>
      <pc:sldChg chg="modSp mod modAnim">
        <pc:chgData name="Tường SKHĐT" userId="ab9568c39a88b08a" providerId="LiveId" clId="{34CB8DE4-BD92-49C7-8DE4-35477F9069EC}" dt="2023-06-12T08:56:05.465" v="1001" actId="20577"/>
        <pc:sldMkLst>
          <pc:docMk/>
          <pc:sldMk cId="1168642509" sldId="2147473537"/>
        </pc:sldMkLst>
        <pc:spChg chg="mod">
          <ac:chgData name="Tường SKHĐT" userId="ab9568c39a88b08a" providerId="LiveId" clId="{34CB8DE4-BD92-49C7-8DE4-35477F9069EC}" dt="2023-06-12T08:56:05.465" v="1001" actId="20577"/>
          <ac:spMkLst>
            <pc:docMk/>
            <pc:sldMk cId="1168642509" sldId="2147473537"/>
            <ac:spMk id="2" creationId="{A49FA47D-1679-133E-0301-5CFB76FC4F8D}"/>
          </ac:spMkLst>
        </pc:spChg>
        <pc:picChg chg="mod">
          <ac:chgData name="Tường SKHĐT" userId="ab9568c39a88b08a" providerId="LiveId" clId="{34CB8DE4-BD92-49C7-8DE4-35477F9069EC}" dt="2023-06-12T08:53:09.816" v="935" actId="1076"/>
          <ac:picMkLst>
            <pc:docMk/>
            <pc:sldMk cId="1168642509" sldId="2147473537"/>
            <ac:picMk id="4" creationId="{C958310C-5BB2-EED8-57FB-52116A467CDC}"/>
          </ac:picMkLst>
        </pc:picChg>
        <pc:picChg chg="mod">
          <ac:chgData name="Tường SKHĐT" userId="ab9568c39a88b08a" providerId="LiveId" clId="{34CB8DE4-BD92-49C7-8DE4-35477F9069EC}" dt="2023-06-12T08:53:07.456" v="934" actId="1076"/>
          <ac:picMkLst>
            <pc:docMk/>
            <pc:sldMk cId="1168642509" sldId="2147473537"/>
            <ac:picMk id="10" creationId="{A3342B6F-D41E-2656-9E93-78133F35EC1A}"/>
          </ac:picMkLst>
        </pc:picChg>
      </pc:sldChg>
      <pc:sldChg chg="modSp mod">
        <pc:chgData name="Tường SKHĐT" userId="ab9568c39a88b08a" providerId="LiveId" clId="{34CB8DE4-BD92-49C7-8DE4-35477F9069EC}" dt="2023-06-12T09:01:48.686" v="1058" actId="20577"/>
        <pc:sldMkLst>
          <pc:docMk/>
          <pc:sldMk cId="2835104792" sldId="2147473580"/>
        </pc:sldMkLst>
        <pc:spChg chg="mod">
          <ac:chgData name="Tường SKHĐT" userId="ab9568c39a88b08a" providerId="LiveId" clId="{34CB8DE4-BD92-49C7-8DE4-35477F9069EC}" dt="2023-06-12T09:01:48.686" v="1058" actId="20577"/>
          <ac:spMkLst>
            <pc:docMk/>
            <pc:sldMk cId="2835104792" sldId="2147473580"/>
            <ac:spMk id="11" creationId="{7E2CE505-A30B-BB03-1C76-24E8431A366B}"/>
          </ac:spMkLst>
        </pc:spChg>
      </pc:sldChg>
      <pc:sldChg chg="addSp delSp modSp mod">
        <pc:chgData name="Tường SKHĐT" userId="ab9568c39a88b08a" providerId="LiveId" clId="{34CB8DE4-BD92-49C7-8DE4-35477F9069EC}" dt="2023-06-12T08:49:09.461" v="933" actId="14100"/>
        <pc:sldMkLst>
          <pc:docMk/>
          <pc:sldMk cId="3397864268" sldId="2147473590"/>
        </pc:sldMkLst>
        <pc:spChg chg="add mod">
          <ac:chgData name="Tường SKHĐT" userId="ab9568c39a88b08a" providerId="LiveId" clId="{34CB8DE4-BD92-49C7-8DE4-35477F9069EC}" dt="2023-06-12T08:49:09.461" v="933" actId="14100"/>
          <ac:spMkLst>
            <pc:docMk/>
            <pc:sldMk cId="3397864268" sldId="2147473590"/>
            <ac:spMk id="2" creationId="{3C05F405-77A8-295C-5EC2-552D05A0E53C}"/>
          </ac:spMkLst>
        </pc:spChg>
        <pc:spChg chg="del">
          <ac:chgData name="Tường SKHĐT" userId="ab9568c39a88b08a" providerId="LiveId" clId="{34CB8DE4-BD92-49C7-8DE4-35477F9069EC}" dt="2023-06-12T08:49:03.445" v="931" actId="21"/>
          <ac:spMkLst>
            <pc:docMk/>
            <pc:sldMk cId="3397864268" sldId="2147473590"/>
            <ac:spMk id="5" creationId="{1E8C731D-2F8B-A78B-2B4D-33A4EFCB949F}"/>
          </ac:spMkLst>
        </pc:spChg>
        <pc:cxnChg chg="del">
          <ac:chgData name="Tường SKHĐT" userId="ab9568c39a88b08a" providerId="LiveId" clId="{34CB8DE4-BD92-49C7-8DE4-35477F9069EC}" dt="2023-06-12T08:49:01.919" v="930" actId="21"/>
          <ac:cxnSpMkLst>
            <pc:docMk/>
            <pc:sldMk cId="3397864268" sldId="2147473590"/>
            <ac:cxnSpMk id="7" creationId="{4EAE9D66-2EB0-6CD9-A617-64639276163A}"/>
          </ac:cxnSpMkLst>
        </pc:cxnChg>
      </pc:sldChg>
      <pc:sldChg chg="modSp mod">
        <pc:chgData name="Tường SKHĐT" userId="ab9568c39a88b08a" providerId="LiveId" clId="{34CB8DE4-BD92-49C7-8DE4-35477F9069EC}" dt="2023-06-12T07:39:29.886" v="156" actId="1076"/>
        <pc:sldMkLst>
          <pc:docMk/>
          <pc:sldMk cId="2171956986" sldId="2147473620"/>
        </pc:sldMkLst>
        <pc:spChg chg="mod">
          <ac:chgData name="Tường SKHĐT" userId="ab9568c39a88b08a" providerId="LiveId" clId="{34CB8DE4-BD92-49C7-8DE4-35477F9069EC}" dt="2023-06-12T07:39:29.886" v="156" actId="1076"/>
          <ac:spMkLst>
            <pc:docMk/>
            <pc:sldMk cId="2171956986" sldId="2147473620"/>
            <ac:spMk id="11" creationId="{6220529F-F711-0C6B-EEFD-3905ECF34CAE}"/>
          </ac:spMkLst>
        </pc:spChg>
      </pc:sldChg>
      <pc:sldChg chg="del">
        <pc:chgData name="Tường SKHĐT" userId="ab9568c39a88b08a" providerId="LiveId" clId="{34CB8DE4-BD92-49C7-8DE4-35477F9069EC}" dt="2023-06-12T09:30:11.442" v="1086" actId="2696"/>
        <pc:sldMkLst>
          <pc:docMk/>
          <pc:sldMk cId="1174761856" sldId="2147473632"/>
        </pc:sldMkLst>
      </pc:sldChg>
      <pc:sldChg chg="modSp mod">
        <pc:chgData name="Tường SKHĐT" userId="ab9568c39a88b08a" providerId="LiveId" clId="{34CB8DE4-BD92-49C7-8DE4-35477F9069EC}" dt="2023-06-12T09:03:08.074" v="1059" actId="20577"/>
        <pc:sldMkLst>
          <pc:docMk/>
          <pc:sldMk cId="3788652331" sldId="2147473664"/>
        </pc:sldMkLst>
        <pc:graphicFrameChg chg="modGraphic">
          <ac:chgData name="Tường SKHĐT" userId="ab9568c39a88b08a" providerId="LiveId" clId="{34CB8DE4-BD92-49C7-8DE4-35477F9069EC}" dt="2023-06-12T09:03:08.074" v="1059" actId="20577"/>
          <ac:graphicFrameMkLst>
            <pc:docMk/>
            <pc:sldMk cId="3788652331" sldId="2147473664"/>
            <ac:graphicFrameMk id="8" creationId="{B5E5335D-2EED-82AF-3A59-FAE8BB94EAE1}"/>
          </ac:graphicFrameMkLst>
        </pc:graphicFrameChg>
      </pc:sldChg>
      <pc:sldChg chg="modSp">
        <pc:chgData name="Tường SKHĐT" userId="ab9568c39a88b08a" providerId="LiveId" clId="{34CB8DE4-BD92-49C7-8DE4-35477F9069EC}" dt="2023-06-12T07:41:17.528" v="160" actId="20577"/>
        <pc:sldMkLst>
          <pc:docMk/>
          <pc:sldMk cId="3956457276" sldId="2147473683"/>
        </pc:sldMkLst>
        <pc:spChg chg="mod">
          <ac:chgData name="Tường SKHĐT" userId="ab9568c39a88b08a" providerId="LiveId" clId="{34CB8DE4-BD92-49C7-8DE4-35477F9069EC}" dt="2023-06-12T07:41:17.528" v="160" actId="20577"/>
          <ac:spMkLst>
            <pc:docMk/>
            <pc:sldMk cId="3956457276" sldId="2147473683"/>
            <ac:spMk id="2" creationId="{A49FA47D-1679-133E-0301-5CFB76FC4F8D}"/>
          </ac:spMkLst>
        </pc:spChg>
      </pc:sldChg>
      <pc:sldChg chg="addSp delSp modSp mod">
        <pc:chgData name="Tường SKHĐT" userId="ab9568c39a88b08a" providerId="LiveId" clId="{34CB8DE4-BD92-49C7-8DE4-35477F9069EC}" dt="2023-06-12T08:47:08.529" v="902" actId="1076"/>
        <pc:sldMkLst>
          <pc:docMk/>
          <pc:sldMk cId="67746271" sldId="2147473699"/>
        </pc:sldMkLst>
        <pc:spChg chg="mod">
          <ac:chgData name="Tường SKHĐT" userId="ab9568c39a88b08a" providerId="LiveId" clId="{34CB8DE4-BD92-49C7-8DE4-35477F9069EC}" dt="2023-06-12T08:47:00.208" v="901" actId="1076"/>
          <ac:spMkLst>
            <pc:docMk/>
            <pc:sldMk cId="67746271" sldId="2147473699"/>
            <ac:spMk id="4" creationId="{FEB40E86-96DD-7002-066A-784713A27A1C}"/>
          </ac:spMkLst>
        </pc:spChg>
        <pc:picChg chg="del">
          <ac:chgData name="Tường SKHĐT" userId="ab9568c39a88b08a" providerId="LiveId" clId="{34CB8DE4-BD92-49C7-8DE4-35477F9069EC}" dt="2023-06-12T08:40:59.994" v="881" actId="21"/>
          <ac:picMkLst>
            <pc:docMk/>
            <pc:sldMk cId="67746271" sldId="2147473699"/>
            <ac:picMk id="3" creationId="{530083A4-E582-0190-B92E-13E604C98618}"/>
          </ac:picMkLst>
        </pc:picChg>
        <pc:picChg chg="add del mod">
          <ac:chgData name="Tường SKHĐT" userId="ab9568c39a88b08a" providerId="LiveId" clId="{34CB8DE4-BD92-49C7-8DE4-35477F9069EC}" dt="2023-06-12T08:45:39.916" v="885" actId="21"/>
          <ac:picMkLst>
            <pc:docMk/>
            <pc:sldMk cId="67746271" sldId="2147473699"/>
            <ac:picMk id="5" creationId="{7F7A47FE-F782-7A5C-ACF7-1A17D9E4582C}"/>
          </ac:picMkLst>
        </pc:picChg>
        <pc:picChg chg="add del mod">
          <ac:chgData name="Tường SKHĐT" userId="ab9568c39a88b08a" providerId="LiveId" clId="{34CB8DE4-BD92-49C7-8DE4-35477F9069EC}" dt="2023-06-12T08:46:45.540" v="894" actId="21"/>
          <ac:picMkLst>
            <pc:docMk/>
            <pc:sldMk cId="67746271" sldId="2147473699"/>
            <ac:picMk id="8" creationId="{DC88E840-14BF-B65B-7BF8-57588CA75CF6}"/>
          </ac:picMkLst>
        </pc:picChg>
        <pc:picChg chg="add mod">
          <ac:chgData name="Tường SKHĐT" userId="ab9568c39a88b08a" providerId="LiveId" clId="{34CB8DE4-BD92-49C7-8DE4-35477F9069EC}" dt="2023-06-12T08:47:08.529" v="902" actId="1076"/>
          <ac:picMkLst>
            <pc:docMk/>
            <pc:sldMk cId="67746271" sldId="2147473699"/>
            <ac:picMk id="10" creationId="{661B3E83-2AE9-9ABD-8D8F-5FE28537B20F}"/>
          </ac:picMkLst>
        </pc:picChg>
      </pc:sldChg>
      <pc:sldChg chg="modSp mod">
        <pc:chgData name="Tường SKHĐT" userId="ab9568c39a88b08a" providerId="LiveId" clId="{34CB8DE4-BD92-49C7-8DE4-35477F9069EC}" dt="2023-06-12T09:00:29.450" v="1053" actId="1076"/>
        <pc:sldMkLst>
          <pc:docMk/>
          <pc:sldMk cId="1384294736" sldId="2147473707"/>
        </pc:sldMkLst>
        <pc:spChg chg="mod">
          <ac:chgData name="Tường SKHĐT" userId="ab9568c39a88b08a" providerId="LiveId" clId="{34CB8DE4-BD92-49C7-8DE4-35477F9069EC}" dt="2023-06-12T09:00:29.450" v="1053" actId="1076"/>
          <ac:spMkLst>
            <pc:docMk/>
            <pc:sldMk cId="1384294736" sldId="2147473707"/>
            <ac:spMk id="2" creationId="{A49FA47D-1679-133E-0301-5CFB76FC4F8D}"/>
          </ac:spMkLst>
        </pc:spChg>
        <pc:picChg chg="mod">
          <ac:chgData name="Tường SKHĐT" userId="ab9568c39a88b08a" providerId="LiveId" clId="{34CB8DE4-BD92-49C7-8DE4-35477F9069EC}" dt="2023-06-12T09:00:22.346" v="1050" actId="1076"/>
          <ac:picMkLst>
            <pc:docMk/>
            <pc:sldMk cId="1384294736" sldId="2147473707"/>
            <ac:picMk id="4" creationId="{C958310C-5BB2-EED8-57FB-52116A467CDC}"/>
          </ac:picMkLst>
        </pc:picChg>
        <pc:picChg chg="mod">
          <ac:chgData name="Tường SKHĐT" userId="ab9568c39a88b08a" providerId="LiveId" clId="{34CB8DE4-BD92-49C7-8DE4-35477F9069EC}" dt="2023-06-12T09:00:25.328" v="1051" actId="14100"/>
          <ac:picMkLst>
            <pc:docMk/>
            <pc:sldMk cId="1384294736" sldId="2147473707"/>
            <ac:picMk id="10" creationId="{A3342B6F-D41E-2656-9E93-78133F35EC1A}"/>
          </ac:picMkLst>
        </pc:picChg>
      </pc:sldChg>
      <pc:sldChg chg="modSp mod modAnim">
        <pc:chgData name="Tường SKHĐT" userId="ab9568c39a88b08a" providerId="LiveId" clId="{34CB8DE4-BD92-49C7-8DE4-35477F9069EC}" dt="2023-06-12T09:01:26.742" v="1055" actId="1076"/>
        <pc:sldMkLst>
          <pc:docMk/>
          <pc:sldMk cId="3055150034" sldId="2147473708"/>
        </pc:sldMkLst>
        <pc:spChg chg="mod">
          <ac:chgData name="Tường SKHĐT" userId="ab9568c39a88b08a" providerId="LiveId" clId="{34CB8DE4-BD92-49C7-8DE4-35477F9069EC}" dt="2023-06-12T09:01:26.742" v="1055" actId="1076"/>
          <ac:spMkLst>
            <pc:docMk/>
            <pc:sldMk cId="3055150034" sldId="2147473708"/>
            <ac:spMk id="2" creationId="{A49FA47D-1679-133E-0301-5CFB76FC4F8D}"/>
          </ac:spMkLst>
        </pc:spChg>
      </pc:sldChg>
      <pc:sldChg chg="del">
        <pc:chgData name="Tường SKHĐT" userId="ab9568c39a88b08a" providerId="LiveId" clId="{34CB8DE4-BD92-49C7-8DE4-35477F9069EC}" dt="2023-06-12T09:30:22.055" v="1088" actId="2696"/>
        <pc:sldMkLst>
          <pc:docMk/>
          <pc:sldMk cId="3384527337" sldId="2147473719"/>
        </pc:sldMkLst>
      </pc:sldChg>
      <pc:sldChg chg="ord">
        <pc:chgData name="Tường SKHĐT" userId="ab9568c39a88b08a" providerId="LiveId" clId="{34CB8DE4-BD92-49C7-8DE4-35477F9069EC}" dt="2023-06-12T07:43:34.515" v="167" actId="20578"/>
        <pc:sldMkLst>
          <pc:docMk/>
          <pc:sldMk cId="912302037" sldId="2147473721"/>
        </pc:sldMkLst>
      </pc:sldChg>
      <pc:sldChg chg="modSp mod">
        <pc:chgData name="Tường SKHĐT" userId="ab9568c39a88b08a" providerId="LiveId" clId="{34CB8DE4-BD92-49C7-8DE4-35477F9069EC}" dt="2023-06-12T07:59:54.174" v="558" actId="20577"/>
        <pc:sldMkLst>
          <pc:docMk/>
          <pc:sldMk cId="964652449" sldId="2147473728"/>
        </pc:sldMkLst>
        <pc:graphicFrameChg chg="mod modGraphic">
          <ac:chgData name="Tường SKHĐT" userId="ab9568c39a88b08a" providerId="LiveId" clId="{34CB8DE4-BD92-49C7-8DE4-35477F9069EC}" dt="2023-06-12T07:59:54.174" v="558" actId="20577"/>
          <ac:graphicFrameMkLst>
            <pc:docMk/>
            <pc:sldMk cId="964652449" sldId="2147473728"/>
            <ac:graphicFrameMk id="5" creationId="{B5E5335D-2EED-82AF-3A59-FAE8BB94EAE1}"/>
          </ac:graphicFrameMkLst>
        </pc:graphicFrameChg>
      </pc:sldChg>
      <pc:sldChg chg="modSp mod">
        <pc:chgData name="Tường SKHĐT" userId="ab9568c39a88b08a" providerId="LiveId" clId="{34CB8DE4-BD92-49C7-8DE4-35477F9069EC}" dt="2023-06-13T09:14:42.477" v="1096" actId="20577"/>
        <pc:sldMkLst>
          <pc:docMk/>
          <pc:sldMk cId="2569991023" sldId="2147473733"/>
        </pc:sldMkLst>
        <pc:graphicFrameChg chg="modGraphic">
          <ac:chgData name="Tường SKHĐT" userId="ab9568c39a88b08a" providerId="LiveId" clId="{34CB8DE4-BD92-49C7-8DE4-35477F9069EC}" dt="2023-06-13T09:14:42.477" v="1096" actId="20577"/>
          <ac:graphicFrameMkLst>
            <pc:docMk/>
            <pc:sldMk cId="2569991023" sldId="2147473733"/>
            <ac:graphicFrameMk id="8" creationId="{B5E5335D-2EED-82AF-3A59-FAE8BB94EAE1}"/>
          </ac:graphicFrameMkLst>
        </pc:graphicFrameChg>
      </pc:sldChg>
      <pc:sldChg chg="modSp mod">
        <pc:chgData name="Tường SKHĐT" userId="ab9568c39a88b08a" providerId="LiveId" clId="{34CB8DE4-BD92-49C7-8DE4-35477F9069EC}" dt="2023-06-12T07:32:14.663" v="28" actId="12"/>
        <pc:sldMkLst>
          <pc:docMk/>
          <pc:sldMk cId="1775073472" sldId="2147473736"/>
        </pc:sldMkLst>
        <pc:graphicFrameChg chg="modGraphic">
          <ac:chgData name="Tường SKHĐT" userId="ab9568c39a88b08a" providerId="LiveId" clId="{34CB8DE4-BD92-49C7-8DE4-35477F9069EC}" dt="2023-06-12T07:32:14.663" v="28" actId="12"/>
          <ac:graphicFrameMkLst>
            <pc:docMk/>
            <pc:sldMk cId="1775073472" sldId="2147473736"/>
            <ac:graphicFrameMk id="6" creationId="{47027231-95EF-C8CE-4215-B126B807487B}"/>
          </ac:graphicFrameMkLst>
        </pc:graphicFrameChg>
      </pc:sldChg>
      <pc:sldChg chg="modSp mod">
        <pc:chgData name="Tường SKHĐT" userId="ab9568c39a88b08a" providerId="LiveId" clId="{34CB8DE4-BD92-49C7-8DE4-35477F9069EC}" dt="2023-06-12T07:15:35.513" v="2" actId="20577"/>
        <pc:sldMkLst>
          <pc:docMk/>
          <pc:sldMk cId="4255944904" sldId="2147473766"/>
        </pc:sldMkLst>
        <pc:spChg chg="mod">
          <ac:chgData name="Tường SKHĐT" userId="ab9568c39a88b08a" providerId="LiveId" clId="{34CB8DE4-BD92-49C7-8DE4-35477F9069EC}" dt="2023-06-12T07:15:35.513" v="2" actId="20577"/>
          <ac:spMkLst>
            <pc:docMk/>
            <pc:sldMk cId="4255944904" sldId="2147473766"/>
            <ac:spMk id="2" creationId="{AD32428D-DFD3-1A5A-AD7B-B47617223596}"/>
          </ac:spMkLst>
        </pc:spChg>
      </pc:sldChg>
      <pc:sldChg chg="modSp mod">
        <pc:chgData name="Tường SKHĐT" userId="ab9568c39a88b08a" providerId="LiveId" clId="{34CB8DE4-BD92-49C7-8DE4-35477F9069EC}" dt="2023-06-12T08:48:45.394" v="929" actId="20577"/>
        <pc:sldMkLst>
          <pc:docMk/>
          <pc:sldMk cId="1424456270" sldId="2147473768"/>
        </pc:sldMkLst>
        <pc:spChg chg="mod">
          <ac:chgData name="Tường SKHĐT" userId="ab9568c39a88b08a" providerId="LiveId" clId="{34CB8DE4-BD92-49C7-8DE4-35477F9069EC}" dt="2023-06-12T08:48:45.394" v="929" actId="20577"/>
          <ac:spMkLst>
            <pc:docMk/>
            <pc:sldMk cId="1424456270" sldId="2147473768"/>
            <ac:spMk id="25" creationId="{01DC26C3-E6F4-C27A-8624-3A65D81B6008}"/>
          </ac:spMkLst>
        </pc:spChg>
      </pc:sldChg>
      <pc:sldChg chg="modSp mod">
        <pc:chgData name="Tường SKHĐT" userId="ab9568c39a88b08a" providerId="LiveId" clId="{34CB8DE4-BD92-49C7-8DE4-35477F9069EC}" dt="2023-06-12T08:48:40.591" v="916" actId="20577"/>
        <pc:sldMkLst>
          <pc:docMk/>
          <pc:sldMk cId="2280649645" sldId="2147473769"/>
        </pc:sldMkLst>
        <pc:spChg chg="mod">
          <ac:chgData name="Tường SKHĐT" userId="ab9568c39a88b08a" providerId="LiveId" clId="{34CB8DE4-BD92-49C7-8DE4-35477F9069EC}" dt="2023-06-12T08:48:40.591" v="916" actId="20577"/>
          <ac:spMkLst>
            <pc:docMk/>
            <pc:sldMk cId="2280649645" sldId="2147473769"/>
            <ac:spMk id="4" creationId="{3DAAD17F-4A57-07B0-72E4-C7D0722B854E}"/>
          </ac:spMkLst>
        </pc:spChg>
      </pc:sldChg>
      <pc:sldChg chg="del">
        <pc:chgData name="Tường SKHĐT" userId="ab9568c39a88b08a" providerId="LiveId" clId="{34CB8DE4-BD92-49C7-8DE4-35477F9069EC}" dt="2023-06-12T09:29:43.134" v="1082" actId="2696"/>
        <pc:sldMkLst>
          <pc:docMk/>
          <pc:sldMk cId="4140657677" sldId="2147473770"/>
        </pc:sldMkLst>
      </pc:sldChg>
      <pc:sldChg chg="modSp mod">
        <pc:chgData name="Tường SKHĐT" userId="ab9568c39a88b08a" providerId="LiveId" clId="{34CB8DE4-BD92-49C7-8DE4-35477F9069EC}" dt="2023-06-12T08:32:07.549" v="858" actId="20577"/>
        <pc:sldMkLst>
          <pc:docMk/>
          <pc:sldMk cId="645932880" sldId="2147473780"/>
        </pc:sldMkLst>
        <pc:spChg chg="mod">
          <ac:chgData name="Tường SKHĐT" userId="ab9568c39a88b08a" providerId="LiveId" clId="{34CB8DE4-BD92-49C7-8DE4-35477F9069EC}" dt="2023-06-12T08:32:07.549" v="858" actId="20577"/>
          <ac:spMkLst>
            <pc:docMk/>
            <pc:sldMk cId="645932880" sldId="2147473780"/>
            <ac:spMk id="7" creationId="{4A5CC767-3BC7-5025-FC6C-29F07C0192CB}"/>
          </ac:spMkLst>
        </pc:spChg>
      </pc:sldChg>
      <pc:sldChg chg="modSp mod">
        <pc:chgData name="Tường SKHĐT" userId="ab9568c39a88b08a" providerId="LiveId" clId="{34CB8DE4-BD92-49C7-8DE4-35477F9069EC}" dt="2023-06-12T07:46:42.166" v="302" actId="20577"/>
        <pc:sldMkLst>
          <pc:docMk/>
          <pc:sldMk cId="1731010684" sldId="2147473790"/>
        </pc:sldMkLst>
        <pc:graphicFrameChg chg="modGraphic">
          <ac:chgData name="Tường SKHĐT" userId="ab9568c39a88b08a" providerId="LiveId" clId="{34CB8DE4-BD92-49C7-8DE4-35477F9069EC}" dt="2023-06-12T07:46:42.166" v="302" actId="20577"/>
          <ac:graphicFrameMkLst>
            <pc:docMk/>
            <pc:sldMk cId="1731010684" sldId="2147473790"/>
            <ac:graphicFrameMk id="4" creationId="{8B2A91AF-00C2-B55E-A461-E4F4D180C7EB}"/>
          </ac:graphicFrameMkLst>
        </pc:graphicFrameChg>
      </pc:sldChg>
      <pc:sldChg chg="modSp mod">
        <pc:chgData name="Tường SKHĐT" userId="ab9568c39a88b08a" providerId="LiveId" clId="{34CB8DE4-BD92-49C7-8DE4-35477F9069EC}" dt="2023-06-12T07:49:41.312" v="384" actId="6549"/>
        <pc:sldMkLst>
          <pc:docMk/>
          <pc:sldMk cId="1652311740" sldId="2147473795"/>
        </pc:sldMkLst>
        <pc:graphicFrameChg chg="modGraphic">
          <ac:chgData name="Tường SKHĐT" userId="ab9568c39a88b08a" providerId="LiveId" clId="{34CB8DE4-BD92-49C7-8DE4-35477F9069EC}" dt="2023-06-12T07:49:41.312" v="384" actId="6549"/>
          <ac:graphicFrameMkLst>
            <pc:docMk/>
            <pc:sldMk cId="1652311740" sldId="2147473795"/>
            <ac:graphicFrameMk id="2" creationId="{3BF8E8E2-FC7A-766D-120A-12F0136F960F}"/>
          </ac:graphicFrameMkLst>
        </pc:graphicFrameChg>
      </pc:sldChg>
      <pc:sldChg chg="modSp mod">
        <pc:chgData name="Tường SKHĐT" userId="ab9568c39a88b08a" providerId="LiveId" clId="{34CB8DE4-BD92-49C7-8DE4-35477F9069EC}" dt="2023-06-12T09:28:11.339" v="1076" actId="1076"/>
        <pc:sldMkLst>
          <pc:docMk/>
          <pc:sldMk cId="1258887434" sldId="2147473798"/>
        </pc:sldMkLst>
        <pc:picChg chg="mod">
          <ac:chgData name="Tường SKHĐT" userId="ab9568c39a88b08a" providerId="LiveId" clId="{34CB8DE4-BD92-49C7-8DE4-35477F9069EC}" dt="2023-06-12T09:28:11.339" v="1076" actId="1076"/>
          <ac:picMkLst>
            <pc:docMk/>
            <pc:sldMk cId="1258887434" sldId="2147473798"/>
            <ac:picMk id="5" creationId="{D7D192ED-A090-3C6F-3CA7-2C3CDBC37FF3}"/>
          </ac:picMkLst>
        </pc:picChg>
      </pc:sldChg>
      <pc:sldChg chg="modSp mod">
        <pc:chgData name="Tường SKHĐT" userId="ab9568c39a88b08a" providerId="LiveId" clId="{34CB8DE4-BD92-49C7-8DE4-35477F9069EC}" dt="2023-06-12T08:22:17.688" v="788" actId="1076"/>
        <pc:sldMkLst>
          <pc:docMk/>
          <pc:sldMk cId="2028050016" sldId="2147473800"/>
        </pc:sldMkLst>
        <pc:graphicFrameChg chg="mod modGraphic">
          <ac:chgData name="Tường SKHĐT" userId="ab9568c39a88b08a" providerId="LiveId" clId="{34CB8DE4-BD92-49C7-8DE4-35477F9069EC}" dt="2023-06-12T08:22:17.688" v="788" actId="1076"/>
          <ac:graphicFrameMkLst>
            <pc:docMk/>
            <pc:sldMk cId="2028050016" sldId="2147473800"/>
            <ac:graphicFrameMk id="2" creationId="{207C86B0-DBF4-FD20-221B-BD96FD50EA79}"/>
          </ac:graphicFrameMkLst>
        </pc:graphicFrameChg>
      </pc:sldChg>
      <pc:sldChg chg="modSp mod">
        <pc:chgData name="Tường SKHĐT" userId="ab9568c39a88b08a" providerId="LiveId" clId="{34CB8DE4-BD92-49C7-8DE4-35477F9069EC}" dt="2023-06-12T07:25:55.529" v="4" actId="20577"/>
        <pc:sldMkLst>
          <pc:docMk/>
          <pc:sldMk cId="3639331486" sldId="2147473803"/>
        </pc:sldMkLst>
        <pc:graphicFrameChg chg="modGraphic">
          <ac:chgData name="Tường SKHĐT" userId="ab9568c39a88b08a" providerId="LiveId" clId="{34CB8DE4-BD92-49C7-8DE4-35477F9069EC}" dt="2023-06-12T07:25:55.529" v="4" actId="20577"/>
          <ac:graphicFrameMkLst>
            <pc:docMk/>
            <pc:sldMk cId="3639331486" sldId="2147473803"/>
            <ac:graphicFrameMk id="3" creationId="{2B60E389-3C15-E216-2343-FACD1755B5AD}"/>
          </ac:graphicFrameMkLst>
        </pc:graphicFrameChg>
      </pc:sldChg>
      <pc:sldChg chg="modSp mod">
        <pc:chgData name="Tường SKHĐT" userId="ab9568c39a88b08a" providerId="LiveId" clId="{34CB8DE4-BD92-49C7-8DE4-35477F9069EC}" dt="2023-06-12T07:35:10.766" v="125" actId="20577"/>
        <pc:sldMkLst>
          <pc:docMk/>
          <pc:sldMk cId="877416782" sldId="2147473804"/>
        </pc:sldMkLst>
        <pc:graphicFrameChg chg="modGraphic">
          <ac:chgData name="Tường SKHĐT" userId="ab9568c39a88b08a" providerId="LiveId" clId="{34CB8DE4-BD92-49C7-8DE4-35477F9069EC}" dt="2023-06-12T07:35:10.766" v="125" actId="20577"/>
          <ac:graphicFrameMkLst>
            <pc:docMk/>
            <pc:sldMk cId="877416782" sldId="2147473804"/>
            <ac:graphicFrameMk id="3" creationId="{1243D2EC-FD70-31EF-486E-0289B57D5A19}"/>
          </ac:graphicFrameMkLst>
        </pc:graphicFrameChg>
      </pc:sldChg>
      <pc:sldChg chg="modSp mod">
        <pc:chgData name="Tường SKHĐT" userId="ab9568c39a88b08a" providerId="LiveId" clId="{34CB8DE4-BD92-49C7-8DE4-35477F9069EC}" dt="2023-06-12T07:25:24.897" v="3" actId="20577"/>
        <pc:sldMkLst>
          <pc:docMk/>
          <pc:sldMk cId="3887791985" sldId="2147473805"/>
        </pc:sldMkLst>
        <pc:graphicFrameChg chg="modGraphic">
          <ac:chgData name="Tường SKHĐT" userId="ab9568c39a88b08a" providerId="LiveId" clId="{34CB8DE4-BD92-49C7-8DE4-35477F9069EC}" dt="2023-06-12T07:25:24.897" v="3" actId="20577"/>
          <ac:graphicFrameMkLst>
            <pc:docMk/>
            <pc:sldMk cId="3887791985" sldId="2147473805"/>
            <ac:graphicFrameMk id="5" creationId="{B5E5335D-2EED-82AF-3A59-FAE8BB94EAE1}"/>
          </ac:graphicFrameMkLst>
        </pc:graphicFrameChg>
      </pc:sldChg>
      <pc:sldChg chg="modSp mod">
        <pc:chgData name="Tường SKHĐT" userId="ab9568c39a88b08a" providerId="LiveId" clId="{34CB8DE4-BD92-49C7-8DE4-35477F9069EC}" dt="2023-06-12T08:37:40.435" v="879" actId="20577"/>
        <pc:sldMkLst>
          <pc:docMk/>
          <pc:sldMk cId="520020494" sldId="2147473806"/>
        </pc:sldMkLst>
        <pc:graphicFrameChg chg="modGraphic">
          <ac:chgData name="Tường SKHĐT" userId="ab9568c39a88b08a" providerId="LiveId" clId="{34CB8DE4-BD92-49C7-8DE4-35477F9069EC}" dt="2023-06-12T08:37:40.435" v="879" actId="20577"/>
          <ac:graphicFrameMkLst>
            <pc:docMk/>
            <pc:sldMk cId="520020494" sldId="2147473806"/>
            <ac:graphicFrameMk id="5" creationId="{B5E5335D-2EED-82AF-3A59-FAE8BB94EAE1}"/>
          </ac:graphicFrameMkLst>
        </pc:graphicFrameChg>
      </pc:sldChg>
      <pc:sldChg chg="modSp mod">
        <pc:chgData name="Tường SKHĐT" userId="ab9568c39a88b08a" providerId="LiveId" clId="{34CB8DE4-BD92-49C7-8DE4-35477F9069EC}" dt="2023-06-12T09:27:41.268" v="1075" actId="1036"/>
        <pc:sldMkLst>
          <pc:docMk/>
          <pc:sldMk cId="1987475464" sldId="2147473828"/>
        </pc:sldMkLst>
        <pc:graphicFrameChg chg="mod">
          <ac:chgData name="Tường SKHĐT" userId="ab9568c39a88b08a" providerId="LiveId" clId="{34CB8DE4-BD92-49C7-8DE4-35477F9069EC}" dt="2023-06-12T09:27:41.268" v="1075" actId="1036"/>
          <ac:graphicFrameMkLst>
            <pc:docMk/>
            <pc:sldMk cId="1987475464" sldId="2147473828"/>
            <ac:graphicFrameMk id="2" creationId="{BFE6691C-E16E-33FF-D926-977E7FBC6CC5}"/>
          </ac:graphicFrameMkLst>
        </pc:graphicFrameChg>
      </pc:sldChg>
      <pc:sldChg chg="modSp mod">
        <pc:chgData name="Tường SKHĐT" userId="ab9568c39a88b08a" providerId="LiveId" clId="{34CB8DE4-BD92-49C7-8DE4-35477F9069EC}" dt="2023-06-12T08:19:16.437" v="664" actId="20577"/>
        <pc:sldMkLst>
          <pc:docMk/>
          <pc:sldMk cId="238100601" sldId="2147473837"/>
        </pc:sldMkLst>
        <pc:graphicFrameChg chg="modGraphic">
          <ac:chgData name="Tường SKHĐT" userId="ab9568c39a88b08a" providerId="LiveId" clId="{34CB8DE4-BD92-49C7-8DE4-35477F9069EC}" dt="2023-06-12T08:19:16.437" v="664" actId="20577"/>
          <ac:graphicFrameMkLst>
            <pc:docMk/>
            <pc:sldMk cId="238100601" sldId="2147473837"/>
            <ac:graphicFrameMk id="8" creationId="{B5E5335D-2EED-82AF-3A59-FAE8BB94EAE1}"/>
          </ac:graphicFrameMkLst>
        </pc:graphicFrameChg>
      </pc:sldChg>
      <pc:sldChg chg="modSp mod">
        <pc:chgData name="Tường SKHĐT" userId="ab9568c39a88b08a" providerId="LiveId" clId="{34CB8DE4-BD92-49C7-8DE4-35477F9069EC}" dt="2023-06-12T07:10:29.031" v="0" actId="1076"/>
        <pc:sldMkLst>
          <pc:docMk/>
          <pc:sldMk cId="1957643202" sldId="2147473838"/>
        </pc:sldMkLst>
        <pc:spChg chg="mod">
          <ac:chgData name="Tường SKHĐT" userId="ab9568c39a88b08a" providerId="LiveId" clId="{34CB8DE4-BD92-49C7-8DE4-35477F9069EC}" dt="2023-06-12T07:10:29.031" v="0" actId="1076"/>
          <ac:spMkLst>
            <pc:docMk/>
            <pc:sldMk cId="1957643202" sldId="2147473838"/>
            <ac:spMk id="4" creationId="{F2F47907-BFA6-9C9C-7410-0773243570E0}"/>
          </ac:spMkLst>
        </pc:spChg>
      </pc:sldChg>
      <pc:sldChg chg="delSp modSp mod">
        <pc:chgData name="Tường SKHĐT" userId="ab9568c39a88b08a" providerId="LiveId" clId="{34CB8DE4-BD92-49C7-8DE4-35477F9069EC}" dt="2023-06-12T09:27:09.708" v="1073" actId="1076"/>
        <pc:sldMkLst>
          <pc:docMk/>
          <pc:sldMk cId="3752301376" sldId="2147473839"/>
        </pc:sldMkLst>
        <pc:graphicFrameChg chg="del mod">
          <ac:chgData name="Tường SKHĐT" userId="ab9568c39a88b08a" providerId="LiveId" clId="{34CB8DE4-BD92-49C7-8DE4-35477F9069EC}" dt="2023-06-12T09:08:40.347" v="1065" actId="21"/>
          <ac:graphicFrameMkLst>
            <pc:docMk/>
            <pc:sldMk cId="3752301376" sldId="2147473839"/>
            <ac:graphicFrameMk id="2" creationId="{34A12A1A-2608-FA0C-5C83-F31881C9EF21}"/>
          </ac:graphicFrameMkLst>
        </pc:graphicFrameChg>
        <pc:graphicFrameChg chg="del mod">
          <ac:chgData name="Tường SKHĐT" userId="ab9568c39a88b08a" providerId="LiveId" clId="{34CB8DE4-BD92-49C7-8DE4-35477F9069EC}" dt="2023-06-12T09:27:02.045" v="1072" actId="21"/>
          <ac:graphicFrameMkLst>
            <pc:docMk/>
            <pc:sldMk cId="3752301376" sldId="2147473839"/>
            <ac:graphicFrameMk id="2" creationId="{3F3787FB-7526-5B80-EA90-73159100BC59}"/>
          </ac:graphicFrameMkLst>
        </pc:graphicFrameChg>
        <pc:graphicFrameChg chg="mod">
          <ac:chgData name="Tường SKHĐT" userId="ab9568c39a88b08a" providerId="LiveId" clId="{34CB8DE4-BD92-49C7-8DE4-35477F9069EC}" dt="2023-06-12T09:27:09.708" v="1073" actId="1076"/>
          <ac:graphicFrameMkLst>
            <pc:docMk/>
            <pc:sldMk cId="3752301376" sldId="2147473839"/>
            <ac:graphicFrameMk id="3" creationId="{5E56084D-AF42-024A-D0D9-5334B5F27471}"/>
          </ac:graphicFrameMkLst>
        </pc:graphicFrameChg>
        <pc:graphicFrameChg chg="del mod">
          <ac:chgData name="Tường SKHĐT" userId="ab9568c39a88b08a" providerId="LiveId" clId="{34CB8DE4-BD92-49C7-8DE4-35477F9069EC}" dt="2023-06-12T09:17:06.450" v="1069" actId="21"/>
          <ac:graphicFrameMkLst>
            <pc:docMk/>
            <pc:sldMk cId="3752301376" sldId="2147473839"/>
            <ac:graphicFrameMk id="3" creationId="{C6D186BC-9C68-0D91-3FB3-069242042D50}"/>
          </ac:graphicFrameMkLst>
        </pc:graphicFrameChg>
        <pc:graphicFrameChg chg="del">
          <ac:chgData name="Tường SKHĐT" userId="ab9568c39a88b08a" providerId="LiveId" clId="{34CB8DE4-BD92-49C7-8DE4-35477F9069EC}" dt="2023-06-12T09:04:57.669" v="1061" actId="21"/>
          <ac:graphicFrameMkLst>
            <pc:docMk/>
            <pc:sldMk cId="3752301376" sldId="2147473839"/>
            <ac:graphicFrameMk id="10" creationId="{78AE96A3-F446-AF0B-29D6-B0D7C99FFBCC}"/>
          </ac:graphicFrameMkLst>
        </pc:graphicFrameChg>
      </pc:sldChg>
      <pc:sldChg chg="modSp mod">
        <pc:chgData name="Tường SKHĐT" userId="ab9568c39a88b08a" providerId="LiveId" clId="{34CB8DE4-BD92-49C7-8DE4-35477F9069EC}" dt="2023-06-12T07:58:37.799" v="404" actId="20577"/>
        <pc:sldMkLst>
          <pc:docMk/>
          <pc:sldMk cId="2159545141" sldId="2147473852"/>
        </pc:sldMkLst>
        <pc:graphicFrameChg chg="modGraphic">
          <ac:chgData name="Tường SKHĐT" userId="ab9568c39a88b08a" providerId="LiveId" clId="{34CB8DE4-BD92-49C7-8DE4-35477F9069EC}" dt="2023-06-12T07:58:37.799" v="404" actId="20577"/>
          <ac:graphicFrameMkLst>
            <pc:docMk/>
            <pc:sldMk cId="2159545141" sldId="2147473852"/>
            <ac:graphicFrameMk id="3" creationId="{1243D2EC-FD70-31EF-486E-0289B57D5A19}"/>
          </ac:graphicFrameMkLst>
        </pc:graphicFrameChg>
      </pc:sldChg>
      <pc:sldChg chg="addSp delSp modSp add mod">
        <pc:chgData name="Tường SKHĐT" userId="ab9568c39a88b08a" providerId="LiveId" clId="{34CB8DE4-BD92-49C7-8DE4-35477F9069EC}" dt="2023-06-12T09:29:30.468" v="1081" actId="1076"/>
        <pc:sldMkLst>
          <pc:docMk/>
          <pc:sldMk cId="1275755780" sldId="2147473857"/>
        </pc:sldMkLst>
        <pc:spChg chg="del">
          <ac:chgData name="Tường SKHĐT" userId="ab9568c39a88b08a" providerId="LiveId" clId="{34CB8DE4-BD92-49C7-8DE4-35477F9069EC}" dt="2023-06-12T09:29:18.518" v="1078" actId="21"/>
          <ac:spMkLst>
            <pc:docMk/>
            <pc:sldMk cId="1275755780" sldId="2147473857"/>
            <ac:spMk id="2" creationId="{85B15777-9A9B-83C0-EAE1-18A3DD8356D6}"/>
          </ac:spMkLst>
        </pc:spChg>
        <pc:spChg chg="add del mod">
          <ac:chgData name="Tường SKHĐT" userId="ab9568c39a88b08a" providerId="LiveId" clId="{34CB8DE4-BD92-49C7-8DE4-35477F9069EC}" dt="2023-06-12T09:29:22.309" v="1079" actId="21"/>
          <ac:spMkLst>
            <pc:docMk/>
            <pc:sldMk cId="1275755780" sldId="2147473857"/>
            <ac:spMk id="5" creationId="{5C100648-3E78-3A1E-A49B-7E88EE1E37A4}"/>
          </ac:spMkLst>
        </pc:spChg>
        <pc:spChg chg="add mod">
          <ac:chgData name="Tường SKHĐT" userId="ab9568c39a88b08a" providerId="LiveId" clId="{34CB8DE4-BD92-49C7-8DE4-35477F9069EC}" dt="2023-06-12T09:29:30.468" v="1081" actId="1076"/>
          <ac:spMkLst>
            <pc:docMk/>
            <pc:sldMk cId="1275755780" sldId="2147473857"/>
            <ac:spMk id="6" creationId="{76A791F0-8BA3-9CFF-F03C-87F8A6165FE5}"/>
          </ac:spMkLst>
        </pc:spChg>
      </pc:sldChg>
      <pc:sldChg chg="add del">
        <pc:chgData name="Tường SKHĐT" userId="ab9568c39a88b08a" providerId="LiveId" clId="{34CB8DE4-BD92-49C7-8DE4-35477F9069EC}" dt="2023-06-12T09:17:33.289" v="1071" actId="2696"/>
        <pc:sldMkLst>
          <pc:docMk/>
          <pc:sldMk cId="1803165633" sldId="2147473857"/>
        </pc:sldMkLst>
      </pc:sldChg>
      <pc:sldChg chg="add del">
        <pc:chgData name="Tường SKHĐT" userId="ab9568c39a88b08a" providerId="LiveId" clId="{34CB8DE4-BD92-49C7-8DE4-35477F9069EC}" dt="2023-06-12T08:57:45.218" v="1024" actId="2696"/>
        <pc:sldMkLst>
          <pc:docMk/>
          <pc:sldMk cId="2108301521" sldId="2147473857"/>
        </pc:sldMkLst>
      </pc:sldChg>
      <pc:sldChg chg="add del">
        <pc:chgData name="Tường SKHĐT" userId="ab9568c39a88b08a" providerId="LiveId" clId="{34CB8DE4-BD92-49C7-8DE4-35477F9069EC}" dt="2023-06-12T09:05:50.946" v="1063" actId="2696"/>
        <pc:sldMkLst>
          <pc:docMk/>
          <pc:sldMk cId="2124777055" sldId="2147473857"/>
        </pc:sldMkLst>
      </pc:sldChg>
      <pc:sldChg chg="add del">
        <pc:chgData name="Tường SKHĐT" userId="ab9568c39a88b08a" providerId="LiveId" clId="{34CB8DE4-BD92-49C7-8DE4-35477F9069EC}" dt="2023-06-12T08:59:56.211" v="1044" actId="2696"/>
        <pc:sldMkLst>
          <pc:docMk/>
          <pc:sldMk cId="2789934696" sldId="2147473857"/>
        </pc:sldMkLst>
      </pc:sldChg>
      <pc:sldChg chg="add del">
        <pc:chgData name="Tường SKHĐT" userId="ab9568c39a88b08a" providerId="LiveId" clId="{34CB8DE4-BD92-49C7-8DE4-35477F9069EC}" dt="2023-06-12T09:08:55.835" v="1067" actId="2696"/>
        <pc:sldMkLst>
          <pc:docMk/>
          <pc:sldMk cId="3191861274" sldId="2147473857"/>
        </pc:sldMkLst>
      </pc:sldChg>
      <pc:sldChg chg="add del">
        <pc:chgData name="Tường SKHĐT" userId="ab9568c39a88b08a" providerId="LiveId" clId="{34CB8DE4-BD92-49C7-8DE4-35477F9069EC}" dt="2023-06-12T08:47:14.613" v="903" actId="2696"/>
        <pc:sldMkLst>
          <pc:docMk/>
          <pc:sldMk cId="3525990481" sldId="2147473857"/>
        </pc:sldMkLst>
      </pc:sldChg>
      <pc:sldChg chg="addSp delSp modSp add mod">
        <pc:chgData name="Tường SKHĐT" userId="ab9568c39a88b08a" providerId="LiveId" clId="{34CB8DE4-BD92-49C7-8DE4-35477F9069EC}" dt="2023-06-12T09:29:57.406" v="1084"/>
        <pc:sldMkLst>
          <pc:docMk/>
          <pc:sldMk cId="2431902142" sldId="2147473858"/>
        </pc:sldMkLst>
        <pc:spChg chg="add mod">
          <ac:chgData name="Tường SKHĐT" userId="ab9568c39a88b08a" providerId="LiveId" clId="{34CB8DE4-BD92-49C7-8DE4-35477F9069EC}" dt="2023-06-12T09:29:57.406" v="1084"/>
          <ac:spMkLst>
            <pc:docMk/>
            <pc:sldMk cId="2431902142" sldId="2147473858"/>
            <ac:spMk id="2" creationId="{8C82F918-033C-84A0-3FB3-983E0D5E4089}"/>
          </ac:spMkLst>
        </pc:spChg>
        <pc:spChg chg="del">
          <ac:chgData name="Tường SKHĐT" userId="ab9568c39a88b08a" providerId="LiveId" clId="{34CB8DE4-BD92-49C7-8DE4-35477F9069EC}" dt="2023-06-12T09:29:52.694" v="1083" actId="21"/>
          <ac:spMkLst>
            <pc:docMk/>
            <pc:sldMk cId="2431902142" sldId="2147473858"/>
            <ac:spMk id="25" creationId="{01DC26C3-E6F4-C27A-8624-3A65D81B6008}"/>
          </ac:spMkLst>
        </pc:spChg>
      </pc:sldChg>
      <pc:sldChg chg="addSp delSp modSp add mod">
        <pc:chgData name="Tường SKHĐT" userId="ab9568c39a88b08a" providerId="LiveId" clId="{34CB8DE4-BD92-49C7-8DE4-35477F9069EC}" dt="2023-06-12T09:30:16.128" v="1087"/>
        <pc:sldMkLst>
          <pc:docMk/>
          <pc:sldMk cId="2423476542" sldId="2147473859"/>
        </pc:sldMkLst>
        <pc:spChg chg="add mod">
          <ac:chgData name="Tường SKHĐT" userId="ab9568c39a88b08a" providerId="LiveId" clId="{34CB8DE4-BD92-49C7-8DE4-35477F9069EC}" dt="2023-06-12T09:30:16.128" v="1087"/>
          <ac:spMkLst>
            <pc:docMk/>
            <pc:sldMk cId="2423476542" sldId="2147473859"/>
            <ac:spMk id="2" creationId="{4E4A5F7E-2164-5EF9-C897-EA8E3B455DCF}"/>
          </ac:spMkLst>
        </pc:spChg>
        <pc:spChg chg="del">
          <ac:chgData name="Tường SKHĐT" userId="ab9568c39a88b08a" providerId="LiveId" clId="{34CB8DE4-BD92-49C7-8DE4-35477F9069EC}" dt="2023-06-12T09:30:07.529" v="1085" actId="21"/>
          <ac:spMkLst>
            <pc:docMk/>
            <pc:sldMk cId="2423476542" sldId="2147473859"/>
            <ac:spMk id="25" creationId="{01DC26C3-E6F4-C27A-8624-3A65D81B6008}"/>
          </ac:spMkLst>
        </pc:spChg>
      </pc:sldChg>
    </pc:docChg>
  </pc:docChgLst>
  <pc:docChgLst>
    <pc:chgData name="Tường SKHĐT" userId="ab9568c39a88b08a" providerId="LiveId" clId="{7F40EFB6-A070-4129-923F-BA5C112CB3ED}"/>
    <pc:docChg chg="undo custSel addSld delSld modSld">
      <pc:chgData name="Tường SKHĐT" userId="ab9568c39a88b08a" providerId="LiveId" clId="{7F40EFB6-A070-4129-923F-BA5C112CB3ED}" dt="2023-05-26T04:16:57.276" v="609" actId="2696"/>
      <pc:docMkLst>
        <pc:docMk/>
      </pc:docMkLst>
      <pc:sldChg chg="modSp mod">
        <pc:chgData name="Tường SKHĐT" userId="ab9568c39a88b08a" providerId="LiveId" clId="{7F40EFB6-A070-4129-923F-BA5C112CB3ED}" dt="2023-05-26T03:53:28.226" v="121" actId="1076"/>
        <pc:sldMkLst>
          <pc:docMk/>
          <pc:sldMk cId="1596329165" sldId="455"/>
        </pc:sldMkLst>
        <pc:spChg chg="mod">
          <ac:chgData name="Tường SKHĐT" userId="ab9568c39a88b08a" providerId="LiveId" clId="{7F40EFB6-A070-4129-923F-BA5C112CB3ED}" dt="2023-05-26T03:53:28.226" v="121" actId="1076"/>
          <ac:spMkLst>
            <pc:docMk/>
            <pc:sldMk cId="1596329165" sldId="455"/>
            <ac:spMk id="7" creationId="{E508593D-8C0D-4163-9A4A-7D6922F8A0DF}"/>
          </ac:spMkLst>
        </pc:spChg>
        <pc:grpChg chg="mod">
          <ac:chgData name="Tường SKHĐT" userId="ab9568c39a88b08a" providerId="LiveId" clId="{7F40EFB6-A070-4129-923F-BA5C112CB3ED}" dt="2023-05-26T03:53:22.305" v="120" actId="1076"/>
          <ac:grpSpMkLst>
            <pc:docMk/>
            <pc:sldMk cId="1596329165" sldId="455"/>
            <ac:grpSpMk id="17" creationId="{6BEB7F04-DEC3-47AD-A430-C67E8368B8AA}"/>
          </ac:grpSpMkLst>
        </pc:grpChg>
      </pc:sldChg>
      <pc:sldChg chg="modSp mod">
        <pc:chgData name="Tường SKHĐT" userId="ab9568c39a88b08a" providerId="LiveId" clId="{7F40EFB6-A070-4129-923F-BA5C112CB3ED}" dt="2023-05-26T04:04:06.343" v="438" actId="14100"/>
        <pc:sldMkLst>
          <pc:docMk/>
          <pc:sldMk cId="1473453022" sldId="2147473487"/>
        </pc:sldMkLst>
        <pc:spChg chg="mod">
          <ac:chgData name="Tường SKHĐT" userId="ab9568c39a88b08a" providerId="LiveId" clId="{7F40EFB6-A070-4129-923F-BA5C112CB3ED}" dt="2023-05-26T03:57:22.807" v="366" actId="20577"/>
          <ac:spMkLst>
            <pc:docMk/>
            <pc:sldMk cId="1473453022" sldId="2147473487"/>
            <ac:spMk id="2" creationId="{38636ED8-2C26-1735-2586-A047393B3E4D}"/>
          </ac:spMkLst>
        </pc:spChg>
        <pc:spChg chg="mod">
          <ac:chgData name="Tường SKHĐT" userId="ab9568c39a88b08a" providerId="LiveId" clId="{7F40EFB6-A070-4129-923F-BA5C112CB3ED}" dt="2023-05-26T04:04:04.126" v="437" actId="14100"/>
          <ac:spMkLst>
            <pc:docMk/>
            <pc:sldMk cId="1473453022" sldId="2147473487"/>
            <ac:spMk id="3" creationId="{851AC2AB-B1A6-2F7F-B7BC-A388B1AC7685}"/>
          </ac:spMkLst>
        </pc:spChg>
        <pc:cxnChg chg="mod">
          <ac:chgData name="Tường SKHĐT" userId="ab9568c39a88b08a" providerId="LiveId" clId="{7F40EFB6-A070-4129-923F-BA5C112CB3ED}" dt="2023-05-26T04:04:06.343" v="438" actId="14100"/>
          <ac:cxnSpMkLst>
            <pc:docMk/>
            <pc:sldMk cId="1473453022" sldId="2147473487"/>
            <ac:cxnSpMk id="4" creationId="{2F226481-463B-59C5-367E-8402F49ADEDB}"/>
          </ac:cxnSpMkLst>
        </pc:cxnChg>
      </pc:sldChg>
      <pc:sldChg chg="modSp mod">
        <pc:chgData name="Tường SKHĐT" userId="ab9568c39a88b08a" providerId="LiveId" clId="{7F40EFB6-A070-4129-923F-BA5C112CB3ED}" dt="2023-05-26T04:00:30.118" v="374" actId="20577"/>
        <pc:sldMkLst>
          <pc:docMk/>
          <pc:sldMk cId="98016993" sldId="2147473493"/>
        </pc:sldMkLst>
        <pc:spChg chg="mod">
          <ac:chgData name="Tường SKHĐT" userId="ab9568c39a88b08a" providerId="LiveId" clId="{7F40EFB6-A070-4129-923F-BA5C112CB3ED}" dt="2023-05-26T04:00:30.118" v="374" actId="20577"/>
          <ac:spMkLst>
            <pc:docMk/>
            <pc:sldMk cId="98016993" sldId="2147473493"/>
            <ac:spMk id="2" creationId="{249DB492-0ACE-EC4B-78A2-7FFF6DFB60DB}"/>
          </ac:spMkLst>
        </pc:spChg>
      </pc:sldChg>
      <pc:sldChg chg="modSp mod">
        <pc:chgData name="Tường SKHĐT" userId="ab9568c39a88b08a" providerId="LiveId" clId="{7F40EFB6-A070-4129-923F-BA5C112CB3ED}" dt="2023-05-26T03:53:45.912" v="150" actId="14100"/>
        <pc:sldMkLst>
          <pc:docMk/>
          <pc:sldMk cId="1079553522" sldId="2147473530"/>
        </pc:sldMkLst>
        <pc:spChg chg="mod">
          <ac:chgData name="Tường SKHĐT" userId="ab9568c39a88b08a" providerId="LiveId" clId="{7F40EFB6-A070-4129-923F-BA5C112CB3ED}" dt="2023-05-26T03:53:45.912" v="150" actId="14100"/>
          <ac:spMkLst>
            <pc:docMk/>
            <pc:sldMk cId="1079553522" sldId="2147473530"/>
            <ac:spMk id="4" creationId="{A8ED73C0-6DEB-F036-A81D-A84B4FA62951}"/>
          </ac:spMkLst>
        </pc:spChg>
      </pc:sldChg>
      <pc:sldChg chg="del">
        <pc:chgData name="Tường SKHĐT" userId="ab9568c39a88b08a" providerId="LiveId" clId="{7F40EFB6-A070-4129-923F-BA5C112CB3ED}" dt="2023-05-26T04:09:31.838" v="594" actId="2696"/>
        <pc:sldMkLst>
          <pc:docMk/>
          <pc:sldMk cId="385818067" sldId="2147473563"/>
        </pc:sldMkLst>
      </pc:sldChg>
      <pc:sldChg chg="addSp delSp modSp mod modShow">
        <pc:chgData name="Tường SKHĐT" userId="ab9568c39a88b08a" providerId="LiveId" clId="{7F40EFB6-A070-4129-923F-BA5C112CB3ED}" dt="2023-05-26T04:04:42.819" v="446" actId="1076"/>
        <pc:sldMkLst>
          <pc:docMk/>
          <pc:sldMk cId="3122668904" sldId="2147473596"/>
        </pc:sldMkLst>
        <pc:spChg chg="add mod">
          <ac:chgData name="Tường SKHĐT" userId="ab9568c39a88b08a" providerId="LiveId" clId="{7F40EFB6-A070-4129-923F-BA5C112CB3ED}" dt="2023-05-26T04:04:42.819" v="446" actId="1076"/>
          <ac:spMkLst>
            <pc:docMk/>
            <pc:sldMk cId="3122668904" sldId="2147473596"/>
            <ac:spMk id="2" creationId="{59BE836C-F798-2D93-2688-D0E99B4F7176}"/>
          </ac:spMkLst>
        </pc:spChg>
        <pc:spChg chg="del">
          <ac:chgData name="Tường SKHĐT" userId="ab9568c39a88b08a" providerId="LiveId" clId="{7F40EFB6-A070-4129-923F-BA5C112CB3ED}" dt="2023-05-26T04:04:29.526" v="445" actId="478"/>
          <ac:spMkLst>
            <pc:docMk/>
            <pc:sldMk cId="3122668904" sldId="2147473596"/>
            <ac:spMk id="10" creationId="{662EDBD3-19DF-486F-ABA4-D066DFD5C061}"/>
          </ac:spMkLst>
        </pc:spChg>
        <pc:spChg chg="mod">
          <ac:chgData name="Tường SKHĐT" userId="ab9568c39a88b08a" providerId="LiveId" clId="{7F40EFB6-A070-4129-923F-BA5C112CB3ED}" dt="2023-05-26T04:04:13.725" v="442" actId="20577"/>
          <ac:spMkLst>
            <pc:docMk/>
            <pc:sldMk cId="3122668904" sldId="2147473596"/>
            <ac:spMk id="13" creationId="{D941B402-27FD-60A3-D08E-FE667B173AB3}"/>
          </ac:spMkLst>
        </pc:spChg>
        <pc:cxnChg chg="add mod">
          <ac:chgData name="Tường SKHĐT" userId="ab9568c39a88b08a" providerId="LiveId" clId="{7F40EFB6-A070-4129-923F-BA5C112CB3ED}" dt="2023-05-26T04:04:42.819" v="446" actId="1076"/>
          <ac:cxnSpMkLst>
            <pc:docMk/>
            <pc:sldMk cId="3122668904" sldId="2147473596"/>
            <ac:cxnSpMk id="3" creationId="{41FDD8EA-DA02-C8BF-8078-04CFBFB60275}"/>
          </ac:cxnSpMkLst>
        </pc:cxnChg>
        <pc:cxnChg chg="del">
          <ac:chgData name="Tường SKHĐT" userId="ab9568c39a88b08a" providerId="LiveId" clId="{7F40EFB6-A070-4129-923F-BA5C112CB3ED}" dt="2023-05-26T04:04:29.526" v="445" actId="478"/>
          <ac:cxnSpMkLst>
            <pc:docMk/>
            <pc:sldMk cId="3122668904" sldId="2147473596"/>
            <ac:cxnSpMk id="11" creationId="{22C2389C-9AA4-0E6D-7FA9-32B95E73E5B1}"/>
          </ac:cxnSpMkLst>
        </pc:cxnChg>
      </pc:sldChg>
      <pc:sldChg chg="del">
        <pc:chgData name="Tường SKHĐT" userId="ab9568c39a88b08a" providerId="LiveId" clId="{7F40EFB6-A070-4129-923F-BA5C112CB3ED}" dt="2023-05-26T04:16:40.809" v="608" actId="2696"/>
        <pc:sldMkLst>
          <pc:docMk/>
          <pc:sldMk cId="1174761856" sldId="2147473632"/>
        </pc:sldMkLst>
      </pc:sldChg>
      <pc:sldChg chg="del">
        <pc:chgData name="Tường SKHĐT" userId="ab9568c39a88b08a" providerId="LiveId" clId="{7F40EFB6-A070-4129-923F-BA5C112CB3ED}" dt="2023-05-26T04:11:06.339" v="599" actId="2696"/>
        <pc:sldMkLst>
          <pc:docMk/>
          <pc:sldMk cId="2981393660" sldId="2147473641"/>
        </pc:sldMkLst>
      </pc:sldChg>
      <pc:sldChg chg="del">
        <pc:chgData name="Tường SKHĐT" userId="ab9568c39a88b08a" providerId="LiveId" clId="{7F40EFB6-A070-4129-923F-BA5C112CB3ED}" dt="2023-05-26T04:11:06.339" v="599" actId="2696"/>
        <pc:sldMkLst>
          <pc:docMk/>
          <pc:sldMk cId="4131389082" sldId="2147473642"/>
        </pc:sldMkLst>
      </pc:sldChg>
      <pc:sldChg chg="del">
        <pc:chgData name="Tường SKHĐT" userId="ab9568c39a88b08a" providerId="LiveId" clId="{7F40EFB6-A070-4129-923F-BA5C112CB3ED}" dt="2023-05-26T04:11:06.339" v="599" actId="2696"/>
        <pc:sldMkLst>
          <pc:docMk/>
          <pc:sldMk cId="473370666" sldId="2147473644"/>
        </pc:sldMkLst>
      </pc:sldChg>
      <pc:sldChg chg="modSp del mod">
        <pc:chgData name="Tường SKHĐT" userId="ab9568c39a88b08a" providerId="LiveId" clId="{7F40EFB6-A070-4129-923F-BA5C112CB3ED}" dt="2023-05-26T04:11:15.095" v="600" actId="2696"/>
        <pc:sldMkLst>
          <pc:docMk/>
          <pc:sldMk cId="3895469789" sldId="2147473645"/>
        </pc:sldMkLst>
        <pc:spChg chg="mod">
          <ac:chgData name="Tường SKHĐT" userId="ab9568c39a88b08a" providerId="LiveId" clId="{7F40EFB6-A070-4129-923F-BA5C112CB3ED}" dt="2023-05-26T04:03:40.426" v="405" actId="20577"/>
          <ac:spMkLst>
            <pc:docMk/>
            <pc:sldMk cId="3895469789" sldId="2147473645"/>
            <ac:spMk id="3" creationId="{E2060C7B-D80B-2D4B-6C50-1215E3EA3460}"/>
          </ac:spMkLst>
        </pc:spChg>
      </pc:sldChg>
      <pc:sldChg chg="del">
        <pc:chgData name="Tường SKHĐT" userId="ab9568c39a88b08a" providerId="LiveId" clId="{7F40EFB6-A070-4129-923F-BA5C112CB3ED}" dt="2023-05-26T03:54:24.584" v="151" actId="2696"/>
        <pc:sldMkLst>
          <pc:docMk/>
          <pc:sldMk cId="851560278" sldId="2147473646"/>
        </pc:sldMkLst>
      </pc:sldChg>
      <pc:sldChg chg="modSp mod">
        <pc:chgData name="Tường SKHĐT" userId="ab9568c39a88b08a" providerId="LiveId" clId="{7F40EFB6-A070-4129-923F-BA5C112CB3ED}" dt="2023-05-26T04:07:09.190" v="533" actId="20577"/>
        <pc:sldMkLst>
          <pc:docMk/>
          <pc:sldMk cId="1686249856" sldId="2147473647"/>
        </pc:sldMkLst>
        <pc:spChg chg="mod">
          <ac:chgData name="Tường SKHĐT" userId="ab9568c39a88b08a" providerId="LiveId" clId="{7F40EFB6-A070-4129-923F-BA5C112CB3ED}" dt="2023-05-26T04:07:09.190" v="533" actId="20577"/>
          <ac:spMkLst>
            <pc:docMk/>
            <pc:sldMk cId="1686249856" sldId="2147473647"/>
            <ac:spMk id="3" creationId="{7D98E30B-6ED5-C1A8-9EDD-E7789E5EF592}"/>
          </ac:spMkLst>
        </pc:spChg>
        <pc:spChg chg="mod">
          <ac:chgData name="Tường SKHĐT" userId="ab9568c39a88b08a" providerId="LiveId" clId="{7F40EFB6-A070-4129-923F-BA5C112CB3ED}" dt="2023-05-26T04:05:14.251" v="460" actId="20577"/>
          <ac:spMkLst>
            <pc:docMk/>
            <pc:sldMk cId="1686249856" sldId="2147473647"/>
            <ac:spMk id="4" creationId="{5DDFB1B9-9FA7-5CF0-AB22-DCB06431AEA4}"/>
          </ac:spMkLst>
        </pc:spChg>
      </pc:sldChg>
      <pc:sldChg chg="modSp mod">
        <pc:chgData name="Tường SKHĐT" userId="ab9568c39a88b08a" providerId="LiveId" clId="{7F40EFB6-A070-4129-923F-BA5C112CB3ED}" dt="2023-05-26T04:05:11.735" v="458" actId="20577"/>
        <pc:sldMkLst>
          <pc:docMk/>
          <pc:sldMk cId="812435647" sldId="2147473649"/>
        </pc:sldMkLst>
        <pc:spChg chg="mod">
          <ac:chgData name="Tường SKHĐT" userId="ab9568c39a88b08a" providerId="LiveId" clId="{7F40EFB6-A070-4129-923F-BA5C112CB3ED}" dt="2023-05-26T04:04:56.822" v="452" actId="20577"/>
          <ac:spMkLst>
            <pc:docMk/>
            <pc:sldMk cId="812435647" sldId="2147473649"/>
            <ac:spMk id="3" creationId="{B532A25B-2F16-04E9-F35A-52506CFB26A9}"/>
          </ac:spMkLst>
        </pc:spChg>
        <pc:spChg chg="mod">
          <ac:chgData name="Tường SKHĐT" userId="ab9568c39a88b08a" providerId="LiveId" clId="{7F40EFB6-A070-4129-923F-BA5C112CB3ED}" dt="2023-05-26T04:05:11.735" v="458" actId="20577"/>
          <ac:spMkLst>
            <pc:docMk/>
            <pc:sldMk cId="812435647" sldId="2147473649"/>
            <ac:spMk id="4" creationId="{4C480D0D-7409-CDE3-E079-F2C1ED1FACE3}"/>
          </ac:spMkLst>
        </pc:spChg>
      </pc:sldChg>
      <pc:sldChg chg="modSp mod">
        <pc:chgData name="Tường SKHĐT" userId="ab9568c39a88b08a" providerId="LiveId" clId="{7F40EFB6-A070-4129-923F-BA5C112CB3ED}" dt="2023-05-26T04:05:03.787" v="454" actId="20577"/>
        <pc:sldMkLst>
          <pc:docMk/>
          <pc:sldMk cId="882842730" sldId="2147473651"/>
        </pc:sldMkLst>
        <pc:spChg chg="mod">
          <ac:chgData name="Tường SKHĐT" userId="ab9568c39a88b08a" providerId="LiveId" clId="{7F40EFB6-A070-4129-923F-BA5C112CB3ED}" dt="2023-05-26T04:04:48.590" v="448" actId="20577"/>
          <ac:spMkLst>
            <pc:docMk/>
            <pc:sldMk cId="882842730" sldId="2147473651"/>
            <ac:spMk id="5" creationId="{13C6177D-64B9-5B4D-AA6B-571EB29BED77}"/>
          </ac:spMkLst>
        </pc:spChg>
        <pc:spChg chg="mod">
          <ac:chgData name="Tường SKHĐT" userId="ab9568c39a88b08a" providerId="LiveId" clId="{7F40EFB6-A070-4129-923F-BA5C112CB3ED}" dt="2023-05-26T04:05:03.787" v="454" actId="20577"/>
          <ac:spMkLst>
            <pc:docMk/>
            <pc:sldMk cId="882842730" sldId="2147473651"/>
            <ac:spMk id="6" creationId="{AD8FCB44-5401-4810-551D-B0072A6956BA}"/>
          </ac:spMkLst>
        </pc:spChg>
      </pc:sldChg>
      <pc:sldChg chg="modSp mod">
        <pc:chgData name="Tường SKHĐT" userId="ab9568c39a88b08a" providerId="LiveId" clId="{7F40EFB6-A070-4129-923F-BA5C112CB3ED}" dt="2023-05-26T04:05:07.079" v="456" actId="20577"/>
        <pc:sldMkLst>
          <pc:docMk/>
          <pc:sldMk cId="2086378900" sldId="2147473652"/>
        </pc:sldMkLst>
        <pc:spChg chg="mod">
          <ac:chgData name="Tường SKHĐT" userId="ab9568c39a88b08a" providerId="LiveId" clId="{7F40EFB6-A070-4129-923F-BA5C112CB3ED}" dt="2023-05-26T04:04:53.166" v="450" actId="20577"/>
          <ac:spMkLst>
            <pc:docMk/>
            <pc:sldMk cId="2086378900" sldId="2147473652"/>
            <ac:spMk id="5" creationId="{13C6177D-64B9-5B4D-AA6B-571EB29BED77}"/>
          </ac:spMkLst>
        </pc:spChg>
        <pc:spChg chg="mod">
          <ac:chgData name="Tường SKHĐT" userId="ab9568c39a88b08a" providerId="LiveId" clId="{7F40EFB6-A070-4129-923F-BA5C112CB3ED}" dt="2023-05-26T04:05:07.079" v="456" actId="20577"/>
          <ac:spMkLst>
            <pc:docMk/>
            <pc:sldMk cId="2086378900" sldId="2147473652"/>
            <ac:spMk id="6" creationId="{AD8FCB44-5401-4810-551D-B0072A6956BA}"/>
          </ac:spMkLst>
        </pc:spChg>
      </pc:sldChg>
      <pc:sldChg chg="del">
        <pc:chgData name="Tường SKHĐT" userId="ab9568c39a88b08a" providerId="LiveId" clId="{7F40EFB6-A070-4129-923F-BA5C112CB3ED}" dt="2023-05-26T04:07:36.049" v="535" actId="2696"/>
        <pc:sldMkLst>
          <pc:docMk/>
          <pc:sldMk cId="3645745785" sldId="2147473655"/>
        </pc:sldMkLst>
      </pc:sldChg>
      <pc:sldChg chg="del">
        <pc:chgData name="Tường SKHĐT" userId="ab9568c39a88b08a" providerId="LiveId" clId="{7F40EFB6-A070-4129-923F-BA5C112CB3ED}" dt="2023-05-26T04:07:38.710" v="536" actId="2696"/>
        <pc:sldMkLst>
          <pc:docMk/>
          <pc:sldMk cId="2033493871" sldId="2147473656"/>
        </pc:sldMkLst>
      </pc:sldChg>
      <pc:sldChg chg="del">
        <pc:chgData name="Tường SKHĐT" userId="ab9568c39a88b08a" providerId="LiveId" clId="{7F40EFB6-A070-4129-923F-BA5C112CB3ED}" dt="2023-05-26T04:08:37.217" v="580" actId="2696"/>
        <pc:sldMkLst>
          <pc:docMk/>
          <pc:sldMk cId="332938349" sldId="2147473657"/>
        </pc:sldMkLst>
      </pc:sldChg>
      <pc:sldChg chg="modSp mod">
        <pc:chgData name="Tường SKHĐT" userId="ab9568c39a88b08a" providerId="LiveId" clId="{7F40EFB6-A070-4129-923F-BA5C112CB3ED}" dt="2023-05-26T04:05:28.031" v="471" actId="20577"/>
        <pc:sldMkLst>
          <pc:docMk/>
          <pc:sldMk cId="3727718023" sldId="2147473658"/>
        </pc:sldMkLst>
        <pc:spChg chg="mod">
          <ac:chgData name="Tường SKHĐT" userId="ab9568c39a88b08a" providerId="LiveId" clId="{7F40EFB6-A070-4129-923F-BA5C112CB3ED}" dt="2023-05-26T04:05:25.286" v="469" actId="20577"/>
          <ac:spMkLst>
            <pc:docMk/>
            <pc:sldMk cId="3727718023" sldId="2147473658"/>
            <ac:spMk id="5" creationId="{13C6177D-64B9-5B4D-AA6B-571EB29BED77}"/>
          </ac:spMkLst>
        </pc:spChg>
        <pc:spChg chg="mod">
          <ac:chgData name="Tường SKHĐT" userId="ab9568c39a88b08a" providerId="LiveId" clId="{7F40EFB6-A070-4129-923F-BA5C112CB3ED}" dt="2023-05-26T04:05:28.031" v="471" actId="20577"/>
          <ac:spMkLst>
            <pc:docMk/>
            <pc:sldMk cId="3727718023" sldId="2147473658"/>
            <ac:spMk id="6" creationId="{AD8FCB44-5401-4810-551D-B0072A6956BA}"/>
          </ac:spMkLst>
        </pc:spChg>
      </pc:sldChg>
      <pc:sldChg chg="del">
        <pc:chgData name="Tường SKHĐT" userId="ab9568c39a88b08a" providerId="LiveId" clId="{7F40EFB6-A070-4129-923F-BA5C112CB3ED}" dt="2023-05-26T04:07:30.111" v="534" actId="2696"/>
        <pc:sldMkLst>
          <pc:docMk/>
          <pc:sldMk cId="2891869655" sldId="2147473659"/>
        </pc:sldMkLst>
      </pc:sldChg>
      <pc:sldChg chg="del">
        <pc:chgData name="Tường SKHĐT" userId="ab9568c39a88b08a" providerId="LiveId" clId="{7F40EFB6-A070-4129-923F-BA5C112CB3ED}" dt="2023-05-26T04:12:29.222" v="604" actId="2696"/>
        <pc:sldMkLst>
          <pc:docMk/>
          <pc:sldMk cId="3797015765" sldId="2147473661"/>
        </pc:sldMkLst>
      </pc:sldChg>
      <pc:sldChg chg="modSp mod">
        <pc:chgData name="Tường SKHĐT" userId="ab9568c39a88b08a" providerId="LiveId" clId="{7F40EFB6-A070-4129-923F-BA5C112CB3ED}" dt="2023-05-26T04:07:03.782" v="531" actId="20577"/>
        <pc:sldMkLst>
          <pc:docMk/>
          <pc:sldMk cId="101557646" sldId="2147473662"/>
        </pc:sldMkLst>
        <pc:spChg chg="mod">
          <ac:chgData name="Tường SKHĐT" userId="ab9568c39a88b08a" providerId="LiveId" clId="{7F40EFB6-A070-4129-923F-BA5C112CB3ED}" dt="2023-05-26T04:07:03.782" v="531" actId="20577"/>
          <ac:spMkLst>
            <pc:docMk/>
            <pc:sldMk cId="101557646" sldId="2147473662"/>
            <ac:spMk id="8" creationId="{51A7F574-DAB9-DE07-855C-2538DCD307B8}"/>
          </ac:spMkLst>
        </pc:spChg>
        <pc:spChg chg="mod">
          <ac:chgData name="Tường SKHĐT" userId="ab9568c39a88b08a" providerId="LiveId" clId="{7F40EFB6-A070-4129-923F-BA5C112CB3ED}" dt="2023-05-26T04:05:17.438" v="462" actId="20577"/>
          <ac:spMkLst>
            <pc:docMk/>
            <pc:sldMk cId="101557646" sldId="2147473662"/>
            <ac:spMk id="10" creationId="{99B4B44D-D9C2-C082-591B-8A4A5C18BE6A}"/>
          </ac:spMkLst>
        </pc:spChg>
      </pc:sldChg>
      <pc:sldChg chg="del">
        <pc:chgData name="Tường SKHĐT" userId="ab9568c39a88b08a" providerId="LiveId" clId="{7F40EFB6-A070-4129-923F-BA5C112CB3ED}" dt="2023-05-26T04:12:12.253" v="601" actId="2696"/>
        <pc:sldMkLst>
          <pc:docMk/>
          <pc:sldMk cId="3377202240" sldId="2147473663"/>
        </pc:sldMkLst>
      </pc:sldChg>
      <pc:sldChg chg="del">
        <pc:chgData name="Tường SKHĐT" userId="ab9568c39a88b08a" providerId="LiveId" clId="{7F40EFB6-A070-4129-923F-BA5C112CB3ED}" dt="2023-05-26T04:11:06.339" v="599" actId="2696"/>
        <pc:sldMkLst>
          <pc:docMk/>
          <pc:sldMk cId="445558377" sldId="2147473666"/>
        </pc:sldMkLst>
      </pc:sldChg>
      <pc:sldChg chg="del">
        <pc:chgData name="Tường SKHĐT" userId="ab9568c39a88b08a" providerId="LiveId" clId="{7F40EFB6-A070-4129-923F-BA5C112CB3ED}" dt="2023-05-26T04:11:06.339" v="599" actId="2696"/>
        <pc:sldMkLst>
          <pc:docMk/>
          <pc:sldMk cId="303836013" sldId="2147473667"/>
        </pc:sldMkLst>
      </pc:sldChg>
      <pc:sldChg chg="del">
        <pc:chgData name="Tường SKHĐT" userId="ab9568c39a88b08a" providerId="LiveId" clId="{7F40EFB6-A070-4129-923F-BA5C112CB3ED}" dt="2023-05-26T04:11:06.339" v="599" actId="2696"/>
        <pc:sldMkLst>
          <pc:docMk/>
          <pc:sldMk cId="1635743029" sldId="2147473668"/>
        </pc:sldMkLst>
      </pc:sldChg>
      <pc:sldChg chg="del">
        <pc:chgData name="Tường SKHĐT" userId="ab9568c39a88b08a" providerId="LiveId" clId="{7F40EFB6-A070-4129-923F-BA5C112CB3ED}" dt="2023-05-26T04:12:21.449" v="602" actId="2696"/>
        <pc:sldMkLst>
          <pc:docMk/>
          <pc:sldMk cId="4014955884" sldId="2147473669"/>
        </pc:sldMkLst>
      </pc:sldChg>
      <pc:sldChg chg="del">
        <pc:chgData name="Tường SKHĐT" userId="ab9568c39a88b08a" providerId="LiveId" clId="{7F40EFB6-A070-4129-923F-BA5C112CB3ED}" dt="2023-05-26T04:14:22.887" v="605" actId="2696"/>
        <pc:sldMkLst>
          <pc:docMk/>
          <pc:sldMk cId="3504603032" sldId="2147473673"/>
        </pc:sldMkLst>
      </pc:sldChg>
      <pc:sldChg chg="del">
        <pc:chgData name="Tường SKHĐT" userId="ab9568c39a88b08a" providerId="LiveId" clId="{7F40EFB6-A070-4129-923F-BA5C112CB3ED}" dt="2023-05-26T04:14:22.887" v="605" actId="2696"/>
        <pc:sldMkLst>
          <pc:docMk/>
          <pc:sldMk cId="2054937218" sldId="2147473674"/>
        </pc:sldMkLst>
      </pc:sldChg>
      <pc:sldChg chg="del">
        <pc:chgData name="Tường SKHĐT" userId="ab9568c39a88b08a" providerId="LiveId" clId="{7F40EFB6-A070-4129-923F-BA5C112CB3ED}" dt="2023-05-26T04:14:22.887" v="605" actId="2696"/>
        <pc:sldMkLst>
          <pc:docMk/>
          <pc:sldMk cId="1659633241" sldId="2147473675"/>
        </pc:sldMkLst>
      </pc:sldChg>
      <pc:sldChg chg="del">
        <pc:chgData name="Tường SKHĐT" userId="ab9568c39a88b08a" providerId="LiveId" clId="{7F40EFB6-A070-4129-923F-BA5C112CB3ED}" dt="2023-05-26T04:14:22.887" v="605" actId="2696"/>
        <pc:sldMkLst>
          <pc:docMk/>
          <pc:sldMk cId="1318858644" sldId="2147473676"/>
        </pc:sldMkLst>
      </pc:sldChg>
      <pc:sldChg chg="del">
        <pc:chgData name="Tường SKHĐT" userId="ab9568c39a88b08a" providerId="LiveId" clId="{7F40EFB6-A070-4129-923F-BA5C112CB3ED}" dt="2023-05-26T04:14:22.887" v="605" actId="2696"/>
        <pc:sldMkLst>
          <pc:docMk/>
          <pc:sldMk cId="3962294555" sldId="2147473677"/>
        </pc:sldMkLst>
      </pc:sldChg>
      <pc:sldChg chg="del">
        <pc:chgData name="Tường SKHĐT" userId="ab9568c39a88b08a" providerId="LiveId" clId="{7F40EFB6-A070-4129-923F-BA5C112CB3ED}" dt="2023-05-26T04:14:22.887" v="605" actId="2696"/>
        <pc:sldMkLst>
          <pc:docMk/>
          <pc:sldMk cId="2692583536" sldId="2147473678"/>
        </pc:sldMkLst>
      </pc:sldChg>
      <pc:sldChg chg="del">
        <pc:chgData name="Tường SKHĐT" userId="ab9568c39a88b08a" providerId="LiveId" clId="{7F40EFB6-A070-4129-923F-BA5C112CB3ED}" dt="2023-05-26T04:14:31.331" v="606" actId="2696"/>
        <pc:sldMkLst>
          <pc:docMk/>
          <pc:sldMk cId="3177858066" sldId="2147473679"/>
        </pc:sldMkLst>
      </pc:sldChg>
      <pc:sldChg chg="del">
        <pc:chgData name="Tường SKHĐT" userId="ab9568c39a88b08a" providerId="LiveId" clId="{7F40EFB6-A070-4129-923F-BA5C112CB3ED}" dt="2023-05-26T04:10:57.056" v="598" actId="2696"/>
        <pc:sldMkLst>
          <pc:docMk/>
          <pc:sldMk cId="3847146912" sldId="2147473680"/>
        </pc:sldMkLst>
      </pc:sldChg>
      <pc:sldChg chg="modSp mod">
        <pc:chgData name="Tường SKHĐT" userId="ab9568c39a88b08a" providerId="LiveId" clId="{7F40EFB6-A070-4129-923F-BA5C112CB3ED}" dt="2023-05-26T04:10:49.931" v="597" actId="20577"/>
        <pc:sldMkLst>
          <pc:docMk/>
          <pc:sldMk cId="293803616" sldId="2147473681"/>
        </pc:sldMkLst>
        <pc:graphicFrameChg chg="modGraphic">
          <ac:chgData name="Tường SKHĐT" userId="ab9568c39a88b08a" providerId="LiveId" clId="{7F40EFB6-A070-4129-923F-BA5C112CB3ED}" dt="2023-05-26T04:10:49.931" v="597" actId="20577"/>
          <ac:graphicFrameMkLst>
            <pc:docMk/>
            <pc:sldMk cId="293803616" sldId="2147473681"/>
            <ac:graphicFrameMk id="8" creationId="{B5E5335D-2EED-82AF-3A59-FAE8BB94EAE1}"/>
          </ac:graphicFrameMkLst>
        </pc:graphicFrameChg>
      </pc:sldChg>
      <pc:sldChg chg="del">
        <pc:chgData name="Tường SKHĐT" userId="ab9568c39a88b08a" providerId="LiveId" clId="{7F40EFB6-A070-4129-923F-BA5C112CB3ED}" dt="2023-05-26T04:14:22.887" v="605" actId="2696"/>
        <pc:sldMkLst>
          <pc:docMk/>
          <pc:sldMk cId="2891713991" sldId="2147473682"/>
        </pc:sldMkLst>
      </pc:sldChg>
      <pc:sldChg chg="del">
        <pc:chgData name="Tường SKHĐT" userId="ab9568c39a88b08a" providerId="LiveId" clId="{7F40EFB6-A070-4129-923F-BA5C112CB3ED}" dt="2023-05-26T04:12:26.242" v="603" actId="2696"/>
        <pc:sldMkLst>
          <pc:docMk/>
          <pc:sldMk cId="362652152" sldId="2147473700"/>
        </pc:sldMkLst>
      </pc:sldChg>
      <pc:sldChg chg="add">
        <pc:chgData name="Tường SKHĐT" userId="ab9568c39a88b08a" providerId="LiveId" clId="{7F40EFB6-A070-4129-923F-BA5C112CB3ED}" dt="2023-05-26T04:00:19.520" v="369"/>
        <pc:sldMkLst>
          <pc:docMk/>
          <pc:sldMk cId="1628374629" sldId="2147473704"/>
        </pc:sldMkLst>
      </pc:sldChg>
      <pc:sldChg chg="del">
        <pc:chgData name="Tường SKHĐT" userId="ab9568c39a88b08a" providerId="LiveId" clId="{7F40EFB6-A070-4129-923F-BA5C112CB3ED}" dt="2023-05-26T04:16:57.276" v="609" actId="2696"/>
        <pc:sldMkLst>
          <pc:docMk/>
          <pc:sldMk cId="1124149324" sldId="2147473714"/>
        </pc:sldMkLst>
      </pc:sldChg>
      <pc:sldChg chg="del">
        <pc:chgData name="Tường SKHĐT" userId="ab9568c39a88b08a" providerId="LiveId" clId="{7F40EFB6-A070-4129-923F-BA5C112CB3ED}" dt="2023-05-26T04:16:40.809" v="608" actId="2696"/>
        <pc:sldMkLst>
          <pc:docMk/>
          <pc:sldMk cId="3922024460" sldId="2147473718"/>
        </pc:sldMkLst>
      </pc:sldChg>
      <pc:sldChg chg="del">
        <pc:chgData name="Tường SKHĐT" userId="ab9568c39a88b08a" providerId="LiveId" clId="{7F40EFB6-A070-4129-923F-BA5C112CB3ED}" dt="2023-05-26T04:16:40.809" v="608" actId="2696"/>
        <pc:sldMkLst>
          <pc:docMk/>
          <pc:sldMk cId="3384527337" sldId="2147473719"/>
        </pc:sldMkLst>
      </pc:sldChg>
      <pc:sldChg chg="del">
        <pc:chgData name="Tường SKHĐT" userId="ab9568c39a88b08a" providerId="LiveId" clId="{7F40EFB6-A070-4129-923F-BA5C112CB3ED}" dt="2023-05-26T04:16:15.369" v="607" actId="2696"/>
        <pc:sldMkLst>
          <pc:docMk/>
          <pc:sldMk cId="1052792772" sldId="2147473723"/>
        </pc:sldMkLst>
      </pc:sldChg>
      <pc:sldChg chg="del">
        <pc:chgData name="Tường SKHĐT" userId="ab9568c39a88b08a" providerId="LiveId" clId="{7F40EFB6-A070-4129-923F-BA5C112CB3ED}" dt="2023-05-26T04:16:15.369" v="607" actId="2696"/>
        <pc:sldMkLst>
          <pc:docMk/>
          <pc:sldMk cId="3515261572" sldId="2147473724"/>
        </pc:sldMkLst>
      </pc:sldChg>
      <pc:sldChg chg="add del">
        <pc:chgData name="Tường SKHĐT" userId="ab9568c39a88b08a" providerId="LiveId" clId="{7F40EFB6-A070-4129-923F-BA5C112CB3ED}" dt="2023-05-26T04:06:11.501" v="522" actId="2696"/>
        <pc:sldMkLst>
          <pc:docMk/>
          <pc:sldMk cId="1198036239" sldId="2147473725"/>
        </pc:sldMkLst>
      </pc:sldChg>
      <pc:sldChg chg="addSp modSp add mod">
        <pc:chgData name="Tường SKHĐT" userId="ab9568c39a88b08a" providerId="LiveId" clId="{7F40EFB6-A070-4129-923F-BA5C112CB3ED}" dt="2023-05-26T04:09:03.856" v="586" actId="1076"/>
        <pc:sldMkLst>
          <pc:docMk/>
          <pc:sldMk cId="909716554" sldId="2147473727"/>
        </pc:sldMkLst>
        <pc:spChg chg="add mod">
          <ac:chgData name="Tường SKHĐT" userId="ab9568c39a88b08a" providerId="LiveId" clId="{7F40EFB6-A070-4129-923F-BA5C112CB3ED}" dt="2023-05-26T04:08:50.643" v="582" actId="1076"/>
          <ac:spMkLst>
            <pc:docMk/>
            <pc:sldMk cId="909716554" sldId="2147473727"/>
            <ac:spMk id="2" creationId="{9B1EE58E-003F-122B-AAA3-4CD0DC67997A}"/>
          </ac:spMkLst>
        </pc:spChg>
        <pc:spChg chg="mod">
          <ac:chgData name="Tường SKHĐT" userId="ab9568c39a88b08a" providerId="LiveId" clId="{7F40EFB6-A070-4129-923F-BA5C112CB3ED}" dt="2023-05-26T04:08:58.966" v="585" actId="404"/>
          <ac:spMkLst>
            <pc:docMk/>
            <pc:sldMk cId="909716554" sldId="2147473727"/>
            <ac:spMk id="11" creationId="{01DC26C3-E6F4-C27A-8624-3A65D81B6008}"/>
          </ac:spMkLst>
        </pc:spChg>
        <pc:graphicFrameChg chg="mod">
          <ac:chgData name="Tường SKHĐT" userId="ab9568c39a88b08a" providerId="LiveId" clId="{7F40EFB6-A070-4129-923F-BA5C112CB3ED}" dt="2023-05-26T04:09:03.856" v="586" actId="1076"/>
          <ac:graphicFrameMkLst>
            <pc:docMk/>
            <pc:sldMk cId="909716554" sldId="2147473727"/>
            <ac:graphicFrameMk id="5" creationId="{B5E5335D-2EED-82AF-3A59-FAE8BB94EAE1}"/>
          </ac:graphicFrameMkLst>
        </pc:graphicFrameChg>
      </pc:sldChg>
      <pc:sldChg chg="addSp modSp add mod">
        <pc:chgData name="Tường SKHĐT" userId="ab9568c39a88b08a" providerId="LiveId" clId="{7F40EFB6-A070-4129-923F-BA5C112CB3ED}" dt="2023-05-26T04:09:20.524" v="593" actId="1076"/>
        <pc:sldMkLst>
          <pc:docMk/>
          <pc:sldMk cId="964652449" sldId="2147473728"/>
        </pc:sldMkLst>
        <pc:spChg chg="add mod">
          <ac:chgData name="Tường SKHĐT" userId="ab9568c39a88b08a" providerId="LiveId" clId="{7F40EFB6-A070-4129-923F-BA5C112CB3ED}" dt="2023-05-26T04:09:10.584" v="588" actId="1076"/>
          <ac:spMkLst>
            <pc:docMk/>
            <pc:sldMk cId="964652449" sldId="2147473728"/>
            <ac:spMk id="2" creationId="{D58423EA-6FCB-50BC-D182-938077ECA949}"/>
          </ac:spMkLst>
        </pc:spChg>
        <pc:spChg chg="mod">
          <ac:chgData name="Tường SKHĐT" userId="ab9568c39a88b08a" providerId="LiveId" clId="{7F40EFB6-A070-4129-923F-BA5C112CB3ED}" dt="2023-05-26T04:09:17.660" v="592" actId="403"/>
          <ac:spMkLst>
            <pc:docMk/>
            <pc:sldMk cId="964652449" sldId="2147473728"/>
            <ac:spMk id="11" creationId="{01DC26C3-E6F4-C27A-8624-3A65D81B6008}"/>
          </ac:spMkLst>
        </pc:spChg>
        <pc:graphicFrameChg chg="mod">
          <ac:chgData name="Tường SKHĐT" userId="ab9568c39a88b08a" providerId="LiveId" clId="{7F40EFB6-A070-4129-923F-BA5C112CB3ED}" dt="2023-05-26T04:09:20.524" v="593" actId="1076"/>
          <ac:graphicFrameMkLst>
            <pc:docMk/>
            <pc:sldMk cId="964652449" sldId="2147473728"/>
            <ac:graphicFrameMk id="5" creationId="{B5E5335D-2EED-82AF-3A59-FAE8BB94EAE1}"/>
          </ac:graphicFrameMkLst>
        </pc:graphicFrameChg>
      </pc:sldChg>
      <pc:sldChg chg="addSp delSp modSp add mod">
        <pc:chgData name="Tường SKHĐT" userId="ab9568c39a88b08a" providerId="LiveId" clId="{7F40EFB6-A070-4129-923F-BA5C112CB3ED}" dt="2023-05-26T04:06:03.770" v="521" actId="1076"/>
        <pc:sldMkLst>
          <pc:docMk/>
          <pc:sldMk cId="505796185" sldId="2147473729"/>
        </pc:sldMkLst>
        <pc:spChg chg="add mod">
          <ac:chgData name="Tường SKHĐT" userId="ab9568c39a88b08a" providerId="LiveId" clId="{7F40EFB6-A070-4129-923F-BA5C112CB3ED}" dt="2023-05-26T04:05:56.793" v="520" actId="1036"/>
          <ac:spMkLst>
            <pc:docMk/>
            <pc:sldMk cId="505796185" sldId="2147473729"/>
            <ac:spMk id="4" creationId="{1FA84E38-1AE4-2FD2-269D-531A1D51424D}"/>
          </ac:spMkLst>
        </pc:spChg>
        <pc:spChg chg="del">
          <ac:chgData name="Tường SKHĐT" userId="ab9568c39a88b08a" providerId="LiveId" clId="{7F40EFB6-A070-4129-923F-BA5C112CB3ED}" dt="2023-05-26T04:05:39.778" v="472" actId="21"/>
          <ac:spMkLst>
            <pc:docMk/>
            <pc:sldMk cId="505796185" sldId="2147473729"/>
            <ac:spMk id="5" creationId="{13C6177D-64B9-5B4D-AA6B-571EB29BED77}"/>
          </ac:spMkLst>
        </pc:spChg>
        <pc:spChg chg="mod">
          <ac:chgData name="Tường SKHĐT" userId="ab9568c39a88b08a" providerId="LiveId" clId="{7F40EFB6-A070-4129-923F-BA5C112CB3ED}" dt="2023-05-26T04:05:56.793" v="520" actId="1036"/>
          <ac:spMkLst>
            <pc:docMk/>
            <pc:sldMk cId="505796185" sldId="2147473729"/>
            <ac:spMk id="6" creationId="{AD8FCB44-5401-4810-551D-B0072A6956BA}"/>
          </ac:spMkLst>
        </pc:spChg>
        <pc:spChg chg="add mod">
          <ac:chgData name="Tường SKHĐT" userId="ab9568c39a88b08a" providerId="LiveId" clId="{7F40EFB6-A070-4129-923F-BA5C112CB3ED}" dt="2023-05-26T04:05:56.793" v="520" actId="1036"/>
          <ac:spMkLst>
            <pc:docMk/>
            <pc:sldMk cId="505796185" sldId="2147473729"/>
            <ac:spMk id="8" creationId="{E4620DA0-DCF6-700E-9776-6805AE4114E9}"/>
          </ac:spMkLst>
        </pc:spChg>
        <pc:spChg chg="add mod">
          <ac:chgData name="Tường SKHĐT" userId="ab9568c39a88b08a" providerId="LiveId" clId="{7F40EFB6-A070-4129-923F-BA5C112CB3ED}" dt="2023-05-26T04:05:56.793" v="520" actId="1036"/>
          <ac:spMkLst>
            <pc:docMk/>
            <pc:sldMk cId="505796185" sldId="2147473729"/>
            <ac:spMk id="9" creationId="{CE322719-97A4-00CC-C0B6-CACE800FAA68}"/>
          </ac:spMkLst>
        </pc:spChg>
        <pc:graphicFrameChg chg="del">
          <ac:chgData name="Tường SKHĐT" userId="ab9568c39a88b08a" providerId="LiveId" clId="{7F40EFB6-A070-4129-923F-BA5C112CB3ED}" dt="2023-05-26T04:01:35.041" v="377" actId="21"/>
          <ac:graphicFrameMkLst>
            <pc:docMk/>
            <pc:sldMk cId="505796185" sldId="2147473729"/>
            <ac:graphicFrameMk id="2" creationId="{3E45EC01-8919-CDD1-BF49-FD790779B8D8}"/>
          </ac:graphicFrameMkLst>
        </pc:graphicFrameChg>
        <pc:graphicFrameChg chg="add mod modGraphic">
          <ac:chgData name="Tường SKHĐT" userId="ab9568c39a88b08a" providerId="LiveId" clId="{7F40EFB6-A070-4129-923F-BA5C112CB3ED}" dt="2023-05-26T04:06:03.770" v="521" actId="1076"/>
          <ac:graphicFrameMkLst>
            <pc:docMk/>
            <pc:sldMk cId="505796185" sldId="2147473729"/>
            <ac:graphicFrameMk id="3" creationId="{19F8C869-87A6-0F98-C7BC-7F547BC514A6}"/>
          </ac:graphicFrameMkLst>
        </pc:graphicFrameChg>
        <pc:graphicFrameChg chg="del">
          <ac:chgData name="Tường SKHĐT" userId="ab9568c39a88b08a" providerId="LiveId" clId="{7F40EFB6-A070-4129-923F-BA5C112CB3ED}" dt="2023-05-26T04:01:36.746" v="378" actId="21"/>
          <ac:graphicFrameMkLst>
            <pc:docMk/>
            <pc:sldMk cId="505796185" sldId="2147473729"/>
            <ac:graphicFrameMk id="7" creationId="{BD7AA84A-7BB7-C999-60CC-D8478BD0C8EB}"/>
          </ac:graphicFrameMkLst>
        </pc:graphicFrameChg>
      </pc:sldChg>
      <pc:sldChg chg="modSp add mod">
        <pc:chgData name="Tường SKHĐT" userId="ab9568c39a88b08a" providerId="LiveId" clId="{7F40EFB6-A070-4129-923F-BA5C112CB3ED}" dt="2023-05-26T04:06:54.175" v="529" actId="20577"/>
        <pc:sldMkLst>
          <pc:docMk/>
          <pc:sldMk cId="3781609734" sldId="2147473730"/>
        </pc:sldMkLst>
        <pc:spChg chg="mod">
          <ac:chgData name="Tường SKHĐT" userId="ab9568c39a88b08a" providerId="LiveId" clId="{7F40EFB6-A070-4129-923F-BA5C112CB3ED}" dt="2023-05-26T04:06:54.175" v="529" actId="20577"/>
          <ac:spMkLst>
            <pc:docMk/>
            <pc:sldMk cId="3781609734" sldId="2147473730"/>
            <ac:spMk id="4" creationId="{6D7BA806-B2F6-ED1E-87D4-1F3C6CD0DF11}"/>
          </ac:spMkLst>
        </pc:spChg>
        <pc:spChg chg="mod">
          <ac:chgData name="Tường SKHĐT" userId="ab9568c39a88b08a" providerId="LiveId" clId="{7F40EFB6-A070-4129-923F-BA5C112CB3ED}" dt="2023-05-26T04:06:51.697" v="527" actId="20577"/>
          <ac:spMkLst>
            <pc:docMk/>
            <pc:sldMk cId="3781609734" sldId="2147473730"/>
            <ac:spMk id="11" creationId="{93FFF217-153B-EFDD-801E-B14BBC611760}"/>
          </ac:spMkLst>
        </pc:spChg>
      </pc:sldChg>
      <pc:sldChg chg="delSp modSp add mod">
        <pc:chgData name="Tường SKHĐT" userId="ab9568c39a88b08a" providerId="LiveId" clId="{7F40EFB6-A070-4129-923F-BA5C112CB3ED}" dt="2023-05-26T04:08:33.250" v="579" actId="1076"/>
        <pc:sldMkLst>
          <pc:docMk/>
          <pc:sldMk cId="1531660894" sldId="2147473731"/>
        </pc:sldMkLst>
        <pc:spChg chg="del">
          <ac:chgData name="Tường SKHĐT" userId="ab9568c39a88b08a" providerId="LiveId" clId="{7F40EFB6-A070-4129-923F-BA5C112CB3ED}" dt="2023-05-26T04:08:29.707" v="577" actId="21"/>
          <ac:spMkLst>
            <pc:docMk/>
            <pc:sldMk cId="1531660894" sldId="2147473731"/>
            <ac:spMk id="6" creationId="{92405935-9037-2264-EBA5-31E82349A474}"/>
          </ac:spMkLst>
        </pc:spChg>
        <pc:spChg chg="mod">
          <ac:chgData name="Tường SKHĐT" userId="ab9568c39a88b08a" providerId="LiveId" clId="{7F40EFB6-A070-4129-923F-BA5C112CB3ED}" dt="2023-05-26T04:08:33.250" v="579" actId="1076"/>
          <ac:spMkLst>
            <pc:docMk/>
            <pc:sldMk cId="1531660894" sldId="2147473731"/>
            <ac:spMk id="9" creationId="{18AC359A-8ADF-9DAA-4CA1-F82A916F1E2E}"/>
          </ac:spMkLst>
        </pc:spChg>
        <pc:graphicFrameChg chg="modGraphic">
          <ac:chgData name="Tường SKHĐT" userId="ab9568c39a88b08a" providerId="LiveId" clId="{7F40EFB6-A070-4129-923F-BA5C112CB3ED}" dt="2023-05-26T04:08:20.239" v="576" actId="20577"/>
          <ac:graphicFrameMkLst>
            <pc:docMk/>
            <pc:sldMk cId="1531660894" sldId="2147473731"/>
            <ac:graphicFrameMk id="8" creationId="{B5E5335D-2EED-82AF-3A59-FAE8BB94EAE1}"/>
          </ac:graphicFrameMkLst>
        </pc:graphicFrameChg>
        <pc:cxnChg chg="del">
          <ac:chgData name="Tường SKHĐT" userId="ab9568c39a88b08a" providerId="LiveId" clId="{7F40EFB6-A070-4129-923F-BA5C112CB3ED}" dt="2023-05-26T04:08:31.057" v="578" actId="21"/>
          <ac:cxnSpMkLst>
            <pc:docMk/>
            <pc:sldMk cId="1531660894" sldId="2147473731"/>
            <ac:cxnSpMk id="7" creationId="{B32367A8-7646-EBBA-9144-BEC13126AB4A}"/>
          </ac:cxnSpMkLst>
        </pc:cxnChg>
      </pc:sldChg>
      <pc:sldMasterChg chg="delSldLayout">
        <pc:chgData name="Tường SKHĐT" userId="ab9568c39a88b08a" providerId="LiveId" clId="{7F40EFB6-A070-4129-923F-BA5C112CB3ED}" dt="2023-05-26T04:12:21.449" v="602" actId="2696"/>
        <pc:sldMasterMkLst>
          <pc:docMk/>
          <pc:sldMasterMk cId="2184812212" sldId="2147483912"/>
        </pc:sldMasterMkLst>
        <pc:sldLayoutChg chg="del">
          <pc:chgData name="Tường SKHĐT" userId="ab9568c39a88b08a" providerId="LiveId" clId="{7F40EFB6-A070-4129-923F-BA5C112CB3ED}" dt="2023-05-26T04:12:21.449" v="602" actId="2696"/>
          <pc:sldLayoutMkLst>
            <pc:docMk/>
            <pc:sldMasterMk cId="2184812212" sldId="2147483912"/>
            <pc:sldLayoutMk cId="4152218122" sldId="2147483934"/>
          </pc:sldLayoutMkLst>
        </pc:sldLayoutChg>
      </pc:sldMasterChg>
    </pc:docChg>
  </pc:docChgLst>
  <pc:docChgLst>
    <pc:chgData name="Tường SKHĐT" userId="ab9568c39a88b08a" providerId="LiveId" clId="{A0A1AF5B-C8A6-4505-B2BC-7B9D5E4B6587}"/>
    <pc:docChg chg="undo custSel addSld delSld modSld">
      <pc:chgData name="Tường SKHĐT" userId="ab9568c39a88b08a" providerId="LiveId" clId="{A0A1AF5B-C8A6-4505-B2BC-7B9D5E4B6587}" dt="2023-06-12T07:09:15.857" v="4671" actId="20577"/>
      <pc:docMkLst>
        <pc:docMk/>
      </pc:docMkLst>
      <pc:sldChg chg="modSp mod">
        <pc:chgData name="Tường SKHĐT" userId="ab9568c39a88b08a" providerId="LiveId" clId="{A0A1AF5B-C8A6-4505-B2BC-7B9D5E4B6587}" dt="2023-06-12T05:09:57.630" v="2317" actId="1035"/>
        <pc:sldMkLst>
          <pc:docMk/>
          <pc:sldMk cId="1167827339" sldId="312"/>
        </pc:sldMkLst>
        <pc:spChg chg="mod">
          <ac:chgData name="Tường SKHĐT" userId="ab9568c39a88b08a" providerId="LiveId" clId="{A0A1AF5B-C8A6-4505-B2BC-7B9D5E4B6587}" dt="2023-06-12T05:09:53.062" v="2302" actId="1076"/>
          <ac:spMkLst>
            <pc:docMk/>
            <pc:sldMk cId="1167827339" sldId="312"/>
            <ac:spMk id="17" creationId="{ABDAFB93-63EF-7B44-9F8D-34E91B303021}"/>
          </ac:spMkLst>
        </pc:spChg>
        <pc:grpChg chg="mod">
          <ac:chgData name="Tường SKHĐT" userId="ab9568c39a88b08a" providerId="LiveId" clId="{A0A1AF5B-C8A6-4505-B2BC-7B9D5E4B6587}" dt="2023-06-12T05:09:57.630" v="2317" actId="1035"/>
          <ac:grpSpMkLst>
            <pc:docMk/>
            <pc:sldMk cId="1167827339" sldId="312"/>
            <ac:grpSpMk id="8" creationId="{71926BB6-FD2C-E0A1-6D7A-1C8DE5F37095}"/>
          </ac:grpSpMkLst>
        </pc:grpChg>
        <pc:grpChg chg="mod">
          <ac:chgData name="Tường SKHĐT" userId="ab9568c39a88b08a" providerId="LiveId" clId="{A0A1AF5B-C8A6-4505-B2BC-7B9D5E4B6587}" dt="2023-06-12T05:09:57.630" v="2317" actId="1035"/>
          <ac:grpSpMkLst>
            <pc:docMk/>
            <pc:sldMk cId="1167827339" sldId="312"/>
            <ac:grpSpMk id="10" creationId="{AAE994BC-EAFC-C98F-4EFE-BE918FD1A61C}"/>
          </ac:grpSpMkLst>
        </pc:grpChg>
        <pc:grpChg chg="mod">
          <ac:chgData name="Tường SKHĐT" userId="ab9568c39a88b08a" providerId="LiveId" clId="{A0A1AF5B-C8A6-4505-B2BC-7B9D5E4B6587}" dt="2023-06-12T05:09:57.630" v="2317" actId="1035"/>
          <ac:grpSpMkLst>
            <pc:docMk/>
            <pc:sldMk cId="1167827339" sldId="312"/>
            <ac:grpSpMk id="15" creationId="{8F41933D-4B99-8032-B10E-DD321A43A5B8}"/>
          </ac:grpSpMkLst>
        </pc:grpChg>
        <pc:grpChg chg="mod">
          <ac:chgData name="Tường SKHĐT" userId="ab9568c39a88b08a" providerId="LiveId" clId="{A0A1AF5B-C8A6-4505-B2BC-7B9D5E4B6587}" dt="2023-06-12T05:09:57.630" v="2317" actId="1035"/>
          <ac:grpSpMkLst>
            <pc:docMk/>
            <pc:sldMk cId="1167827339" sldId="312"/>
            <ac:grpSpMk id="44" creationId="{625077EF-140C-4D6F-E73A-0FB58A172694}"/>
          </ac:grpSpMkLst>
        </pc:grpChg>
        <pc:grpChg chg="mod">
          <ac:chgData name="Tường SKHĐT" userId="ab9568c39a88b08a" providerId="LiveId" clId="{A0A1AF5B-C8A6-4505-B2BC-7B9D5E4B6587}" dt="2023-06-12T05:09:57.630" v="2317" actId="1035"/>
          <ac:grpSpMkLst>
            <pc:docMk/>
            <pc:sldMk cId="1167827339" sldId="312"/>
            <ac:grpSpMk id="45" creationId="{6F7196B4-23D0-A53D-E5FA-209403C9EE8E}"/>
          </ac:grpSpMkLst>
        </pc:grpChg>
        <pc:picChg chg="mod">
          <ac:chgData name="Tường SKHĐT" userId="ab9568c39a88b08a" providerId="LiveId" clId="{A0A1AF5B-C8A6-4505-B2BC-7B9D5E4B6587}" dt="2023-06-12T05:09:57.630" v="2317" actId="1035"/>
          <ac:picMkLst>
            <pc:docMk/>
            <pc:sldMk cId="1167827339" sldId="312"/>
            <ac:picMk id="47" creationId="{CC005B64-750F-0970-3CD5-C7E58D330D2A}"/>
          </ac:picMkLst>
        </pc:picChg>
        <pc:picChg chg="mod">
          <ac:chgData name="Tường SKHĐT" userId="ab9568c39a88b08a" providerId="LiveId" clId="{A0A1AF5B-C8A6-4505-B2BC-7B9D5E4B6587}" dt="2023-06-12T05:09:57.630" v="2317" actId="1035"/>
          <ac:picMkLst>
            <pc:docMk/>
            <pc:sldMk cId="1167827339" sldId="312"/>
            <ac:picMk id="61" creationId="{533AE197-97BB-BD44-681E-27907409136A}"/>
          </ac:picMkLst>
        </pc:picChg>
      </pc:sldChg>
      <pc:sldChg chg="addSp delSp modSp mod">
        <pc:chgData name="Tường SKHĐT" userId="ab9568c39a88b08a" providerId="LiveId" clId="{A0A1AF5B-C8A6-4505-B2BC-7B9D5E4B6587}" dt="2023-06-12T05:13:31.080" v="2633" actId="20577"/>
        <pc:sldMkLst>
          <pc:docMk/>
          <pc:sldMk cId="2016091477" sldId="608"/>
        </pc:sldMkLst>
        <pc:spChg chg="add mod">
          <ac:chgData name="Tường SKHĐT" userId="ab9568c39a88b08a" providerId="LiveId" clId="{A0A1AF5B-C8A6-4505-B2BC-7B9D5E4B6587}" dt="2023-06-12T05:13:31.080" v="2633" actId="20577"/>
          <ac:spMkLst>
            <pc:docMk/>
            <pc:sldMk cId="2016091477" sldId="608"/>
            <ac:spMk id="2" creationId="{B1B170EA-ACEE-98CB-EB09-143E5BB6A3C8}"/>
          </ac:spMkLst>
        </pc:spChg>
        <pc:spChg chg="del">
          <ac:chgData name="Tường SKHĐT" userId="ab9568c39a88b08a" providerId="LiveId" clId="{A0A1AF5B-C8A6-4505-B2BC-7B9D5E4B6587}" dt="2023-06-12T05:12:43.849" v="2533" actId="21"/>
          <ac:spMkLst>
            <pc:docMk/>
            <pc:sldMk cId="2016091477" sldId="608"/>
            <ac:spMk id="3" creationId="{2BF4C964-5B51-155D-1FCC-AF55E074D424}"/>
          </ac:spMkLst>
        </pc:spChg>
        <pc:cxnChg chg="del">
          <ac:chgData name="Tường SKHĐT" userId="ab9568c39a88b08a" providerId="LiveId" clId="{A0A1AF5B-C8A6-4505-B2BC-7B9D5E4B6587}" dt="2023-06-12T05:12:45.251" v="2534" actId="21"/>
          <ac:cxnSpMkLst>
            <pc:docMk/>
            <pc:sldMk cId="2016091477" sldId="608"/>
            <ac:cxnSpMk id="4" creationId="{E9FC4CD0-864C-B653-BFF6-442A276263F2}"/>
          </ac:cxnSpMkLst>
        </pc:cxnChg>
      </pc:sldChg>
      <pc:sldChg chg="addSp delSp modSp mod">
        <pc:chgData name="Tường SKHĐT" userId="ab9568c39a88b08a" providerId="LiveId" clId="{A0A1AF5B-C8A6-4505-B2BC-7B9D5E4B6587}" dt="2023-06-12T05:16:42.887" v="2734" actId="20577"/>
        <pc:sldMkLst>
          <pc:docMk/>
          <pc:sldMk cId="98016993" sldId="2147473493"/>
        </pc:sldMkLst>
        <pc:spChg chg="del mod">
          <ac:chgData name="Tường SKHĐT" userId="ab9568c39a88b08a" providerId="LiveId" clId="{A0A1AF5B-C8A6-4505-B2BC-7B9D5E4B6587}" dt="2023-06-12T04:04:59.822" v="188" actId="21"/>
          <ac:spMkLst>
            <pc:docMk/>
            <pc:sldMk cId="98016993" sldId="2147473493"/>
            <ac:spMk id="2" creationId="{249DB492-0ACE-EC4B-78A2-7FFF6DFB60DB}"/>
          </ac:spMkLst>
        </pc:spChg>
        <pc:spChg chg="add mod">
          <ac:chgData name="Tường SKHĐT" userId="ab9568c39a88b08a" providerId="LiveId" clId="{A0A1AF5B-C8A6-4505-B2BC-7B9D5E4B6587}" dt="2023-06-12T04:04:53.665" v="187" actId="14100"/>
          <ac:spMkLst>
            <pc:docMk/>
            <pc:sldMk cId="98016993" sldId="2147473493"/>
            <ac:spMk id="3" creationId="{FC30F92D-3C47-CF58-6C37-0DBB6FF2F2DF}"/>
          </ac:spMkLst>
        </pc:spChg>
        <pc:spChg chg="mod">
          <ac:chgData name="Tường SKHĐT" userId="ab9568c39a88b08a" providerId="LiveId" clId="{A0A1AF5B-C8A6-4505-B2BC-7B9D5E4B6587}" dt="2023-06-12T05:16:42.887" v="2734" actId="20577"/>
          <ac:spMkLst>
            <pc:docMk/>
            <pc:sldMk cId="98016993" sldId="2147473493"/>
            <ac:spMk id="8" creationId="{50A9C000-165F-E95A-7887-87E444772F67}"/>
          </ac:spMkLst>
        </pc:spChg>
      </pc:sldChg>
      <pc:sldChg chg="addSp delSp modSp mod">
        <pc:chgData name="Tường SKHĐT" userId="ab9568c39a88b08a" providerId="LiveId" clId="{A0A1AF5B-C8A6-4505-B2BC-7B9D5E4B6587}" dt="2023-06-12T05:42:54.740" v="3720" actId="20577"/>
        <pc:sldMkLst>
          <pc:docMk/>
          <pc:sldMk cId="1786243308" sldId="2147473545"/>
        </pc:sldMkLst>
        <pc:spChg chg="add mod">
          <ac:chgData name="Tường SKHĐT" userId="ab9568c39a88b08a" providerId="LiveId" clId="{A0A1AF5B-C8A6-4505-B2BC-7B9D5E4B6587}" dt="2023-06-12T05:33:56.187" v="2897" actId="1076"/>
          <ac:spMkLst>
            <pc:docMk/>
            <pc:sldMk cId="1786243308" sldId="2147473545"/>
            <ac:spMk id="2" creationId="{E3F2BF9A-C482-E244-621B-6DF71CDC208B}"/>
          </ac:spMkLst>
        </pc:spChg>
        <pc:graphicFrameChg chg="mod modGraphic">
          <ac:chgData name="Tường SKHĐT" userId="ab9568c39a88b08a" providerId="LiveId" clId="{A0A1AF5B-C8A6-4505-B2BC-7B9D5E4B6587}" dt="2023-06-12T05:42:54.740" v="3720" actId="20577"/>
          <ac:graphicFrameMkLst>
            <pc:docMk/>
            <pc:sldMk cId="1786243308" sldId="2147473545"/>
            <ac:graphicFrameMk id="8" creationId="{B5E5335D-2EED-82AF-3A59-FAE8BB94EAE1}"/>
          </ac:graphicFrameMkLst>
        </pc:graphicFrameChg>
        <pc:picChg chg="del">
          <ac:chgData name="Tường SKHĐT" userId="ab9568c39a88b08a" providerId="LiveId" clId="{A0A1AF5B-C8A6-4505-B2BC-7B9D5E4B6587}" dt="2023-06-12T05:24:50.960" v="2767" actId="21"/>
          <ac:picMkLst>
            <pc:docMk/>
            <pc:sldMk cId="1786243308" sldId="2147473545"/>
            <ac:picMk id="7" creationId="{A8DCE28E-B471-3D60-44FB-21898F409962}"/>
          </ac:picMkLst>
        </pc:picChg>
        <pc:picChg chg="del">
          <ac:chgData name="Tường SKHĐT" userId="ab9568c39a88b08a" providerId="LiveId" clId="{A0A1AF5B-C8A6-4505-B2BC-7B9D5E4B6587}" dt="2023-06-12T05:24:52.696" v="2768" actId="21"/>
          <ac:picMkLst>
            <pc:docMk/>
            <pc:sldMk cId="1786243308" sldId="2147473545"/>
            <ac:picMk id="9" creationId="{2D7C230D-DB86-166B-1256-76D32398BC9D}"/>
          </ac:picMkLst>
        </pc:picChg>
      </pc:sldChg>
      <pc:sldChg chg="del">
        <pc:chgData name="Tường SKHĐT" userId="ab9568c39a88b08a" providerId="LiveId" clId="{A0A1AF5B-C8A6-4505-B2BC-7B9D5E4B6587}" dt="2023-06-12T04:57:52.939" v="1912" actId="2696"/>
        <pc:sldMkLst>
          <pc:docMk/>
          <pc:sldMk cId="1783682046" sldId="2147473574"/>
        </pc:sldMkLst>
      </pc:sldChg>
      <pc:sldChg chg="delSp modSp mod">
        <pc:chgData name="Tường SKHĐT" userId="ab9568c39a88b08a" providerId="LiveId" clId="{A0A1AF5B-C8A6-4505-B2BC-7B9D5E4B6587}" dt="2023-06-12T05:42:35.694" v="3714" actId="14100"/>
        <pc:sldMkLst>
          <pc:docMk/>
          <pc:sldMk cId="1163171153" sldId="2147473582"/>
        </pc:sldMkLst>
        <pc:spChg chg="mod">
          <ac:chgData name="Tường SKHĐT" userId="ab9568c39a88b08a" providerId="LiveId" clId="{A0A1AF5B-C8A6-4505-B2BC-7B9D5E4B6587}" dt="2023-06-12T05:42:35.694" v="3714" actId="14100"/>
          <ac:spMkLst>
            <pc:docMk/>
            <pc:sldMk cId="1163171153" sldId="2147473582"/>
            <ac:spMk id="2" creationId="{A49FA47D-1679-133E-0301-5CFB76FC4F8D}"/>
          </ac:spMkLst>
        </pc:spChg>
        <pc:picChg chg="del">
          <ac:chgData name="Tường SKHĐT" userId="ab9568c39a88b08a" providerId="LiveId" clId="{A0A1AF5B-C8A6-4505-B2BC-7B9D5E4B6587}" dt="2023-06-12T05:42:32.618" v="3713" actId="21"/>
          <ac:picMkLst>
            <pc:docMk/>
            <pc:sldMk cId="1163171153" sldId="2147473582"/>
            <ac:picMk id="3" creationId="{8ECDE32C-3CEA-B622-DD60-CA5D943EEBEB}"/>
          </ac:picMkLst>
        </pc:picChg>
        <pc:picChg chg="del">
          <ac:chgData name="Tường SKHĐT" userId="ab9568c39a88b08a" providerId="LiveId" clId="{A0A1AF5B-C8A6-4505-B2BC-7B9D5E4B6587}" dt="2023-06-12T05:42:30.955" v="3712" actId="21"/>
          <ac:picMkLst>
            <pc:docMk/>
            <pc:sldMk cId="1163171153" sldId="2147473582"/>
            <ac:picMk id="5" creationId="{36D40177-B5F5-4CD7-89E9-D49ADE361564}"/>
          </ac:picMkLst>
        </pc:picChg>
      </pc:sldChg>
      <pc:sldChg chg="modSp mod">
        <pc:chgData name="Tường SKHĐT" userId="ab9568c39a88b08a" providerId="LiveId" clId="{A0A1AF5B-C8A6-4505-B2BC-7B9D5E4B6587}" dt="2023-06-12T05:45:36.414" v="3862" actId="207"/>
        <pc:sldMkLst>
          <pc:docMk/>
          <pc:sldMk cId="740355695" sldId="2147473583"/>
        </pc:sldMkLst>
        <pc:spChg chg="mod">
          <ac:chgData name="Tường SKHĐT" userId="ab9568c39a88b08a" providerId="LiveId" clId="{A0A1AF5B-C8A6-4505-B2BC-7B9D5E4B6587}" dt="2023-06-12T05:45:36.414" v="3862" actId="207"/>
          <ac:spMkLst>
            <pc:docMk/>
            <pc:sldMk cId="740355695" sldId="2147473583"/>
            <ac:spMk id="3" creationId="{F4077AF3-E87B-6ED3-C32E-F690520025FC}"/>
          </ac:spMkLst>
        </pc:spChg>
      </pc:sldChg>
      <pc:sldChg chg="addSp delSp modSp mod">
        <pc:chgData name="Tường SKHĐT" userId="ab9568c39a88b08a" providerId="LiveId" clId="{A0A1AF5B-C8A6-4505-B2BC-7B9D5E4B6587}" dt="2023-06-12T05:13:16.495" v="2548" actId="1076"/>
        <pc:sldMkLst>
          <pc:docMk/>
          <pc:sldMk cId="1387142198" sldId="2147473622"/>
        </pc:sldMkLst>
        <pc:spChg chg="add mod">
          <ac:chgData name="Tường SKHĐT" userId="ab9568c39a88b08a" providerId="LiveId" clId="{A0A1AF5B-C8A6-4505-B2BC-7B9D5E4B6587}" dt="2023-06-12T05:13:16.495" v="2548" actId="1076"/>
          <ac:spMkLst>
            <pc:docMk/>
            <pc:sldMk cId="1387142198" sldId="2147473622"/>
            <ac:spMk id="2" creationId="{06EEEA68-C4BB-4F90-2662-CE895507C43B}"/>
          </ac:spMkLst>
        </pc:spChg>
        <pc:spChg chg="del">
          <ac:chgData name="Tường SKHĐT" userId="ab9568c39a88b08a" providerId="LiveId" clId="{A0A1AF5B-C8A6-4505-B2BC-7B9D5E4B6587}" dt="2023-06-12T05:13:03.992" v="2543" actId="21"/>
          <ac:spMkLst>
            <pc:docMk/>
            <pc:sldMk cId="1387142198" sldId="2147473622"/>
            <ac:spMk id="3" creationId="{2BF4C964-5B51-155D-1FCC-AF55E074D424}"/>
          </ac:spMkLst>
        </pc:spChg>
        <pc:cxnChg chg="del">
          <ac:chgData name="Tường SKHĐT" userId="ab9568c39a88b08a" providerId="LiveId" clId="{A0A1AF5B-C8A6-4505-B2BC-7B9D5E4B6587}" dt="2023-06-12T05:13:05.395" v="2544" actId="21"/>
          <ac:cxnSpMkLst>
            <pc:docMk/>
            <pc:sldMk cId="1387142198" sldId="2147473622"/>
            <ac:cxnSpMk id="4" creationId="{E9FC4CD0-864C-B653-BFF6-442A276263F2}"/>
          </ac:cxnSpMkLst>
        </pc:cxnChg>
      </pc:sldChg>
      <pc:sldChg chg="addSp delSp modSp mod">
        <pc:chgData name="Tường SKHĐT" userId="ab9568c39a88b08a" providerId="LiveId" clId="{A0A1AF5B-C8A6-4505-B2BC-7B9D5E4B6587}" dt="2023-06-12T05:10:28.771" v="2346" actId="20577"/>
        <pc:sldMkLst>
          <pc:docMk/>
          <pc:sldMk cId="1174761856" sldId="2147473632"/>
        </pc:sldMkLst>
        <pc:spChg chg="add mod">
          <ac:chgData name="Tường SKHĐT" userId="ab9568c39a88b08a" providerId="LiveId" clId="{A0A1AF5B-C8A6-4505-B2BC-7B9D5E4B6587}" dt="2023-06-12T05:10:28.771" v="2346" actId="20577"/>
          <ac:spMkLst>
            <pc:docMk/>
            <pc:sldMk cId="1174761856" sldId="2147473632"/>
            <ac:spMk id="2" creationId="{90639DAD-0C28-1F96-C20C-9A6FD13DE97A}"/>
          </ac:spMkLst>
        </pc:spChg>
        <pc:spChg chg="mod">
          <ac:chgData name="Tường SKHĐT" userId="ab9568c39a88b08a" providerId="LiveId" clId="{A0A1AF5B-C8A6-4505-B2BC-7B9D5E4B6587}" dt="2023-06-12T05:07:09.100" v="2064" actId="1076"/>
          <ac:spMkLst>
            <pc:docMk/>
            <pc:sldMk cId="1174761856" sldId="2147473632"/>
            <ac:spMk id="4" creationId="{11B4B638-D8C9-63CB-0C4C-AF8CBBC88A8B}"/>
          </ac:spMkLst>
        </pc:spChg>
        <pc:spChg chg="del">
          <ac:chgData name="Tường SKHĐT" userId="ab9568c39a88b08a" providerId="LiveId" clId="{A0A1AF5B-C8A6-4505-B2BC-7B9D5E4B6587}" dt="2023-06-12T05:06:41.367" v="2055" actId="21"/>
          <ac:spMkLst>
            <pc:docMk/>
            <pc:sldMk cId="1174761856" sldId="2147473632"/>
            <ac:spMk id="25" creationId="{01DC26C3-E6F4-C27A-8624-3A65D81B6008}"/>
          </ac:spMkLst>
        </pc:spChg>
        <pc:graphicFrameChg chg="mod">
          <ac:chgData name="Tường SKHĐT" userId="ab9568c39a88b08a" providerId="LiveId" clId="{A0A1AF5B-C8A6-4505-B2BC-7B9D5E4B6587}" dt="2023-06-12T05:07:00.986" v="2062" actId="1076"/>
          <ac:graphicFrameMkLst>
            <pc:docMk/>
            <pc:sldMk cId="1174761856" sldId="2147473632"/>
            <ac:graphicFrameMk id="6" creationId="{44FB4D7C-01CC-0736-5D6D-65D7293CE01F}"/>
          </ac:graphicFrameMkLst>
        </pc:graphicFrameChg>
        <pc:graphicFrameChg chg="mod">
          <ac:chgData name="Tường SKHĐT" userId="ab9568c39a88b08a" providerId="LiveId" clId="{A0A1AF5B-C8A6-4505-B2BC-7B9D5E4B6587}" dt="2023-06-12T05:07:04.948" v="2063" actId="1076"/>
          <ac:graphicFrameMkLst>
            <pc:docMk/>
            <pc:sldMk cId="1174761856" sldId="2147473632"/>
            <ac:graphicFrameMk id="7" creationId="{CEED3EA2-0750-10C2-1A30-ACB23F10ADA9}"/>
          </ac:graphicFrameMkLst>
        </pc:graphicFrameChg>
      </pc:sldChg>
      <pc:sldChg chg="modSp">
        <pc:chgData name="Tường SKHĐT" userId="ab9568c39a88b08a" providerId="LiveId" clId="{A0A1AF5B-C8A6-4505-B2BC-7B9D5E4B6587}" dt="2023-06-12T05:44:06.199" v="3737" actId="20577"/>
        <pc:sldMkLst>
          <pc:docMk/>
          <pc:sldMk cId="3956457276" sldId="2147473683"/>
        </pc:sldMkLst>
        <pc:spChg chg="mod">
          <ac:chgData name="Tường SKHĐT" userId="ab9568c39a88b08a" providerId="LiveId" clId="{A0A1AF5B-C8A6-4505-B2BC-7B9D5E4B6587}" dt="2023-06-12T05:44:06.199" v="3737" actId="20577"/>
          <ac:spMkLst>
            <pc:docMk/>
            <pc:sldMk cId="3956457276" sldId="2147473683"/>
            <ac:spMk id="2" creationId="{A49FA47D-1679-133E-0301-5CFB76FC4F8D}"/>
          </ac:spMkLst>
        </pc:spChg>
      </pc:sldChg>
      <pc:sldChg chg="del">
        <pc:chgData name="Tường SKHĐT" userId="ab9568c39a88b08a" providerId="LiveId" clId="{A0A1AF5B-C8A6-4505-B2BC-7B9D5E4B6587}" dt="2023-06-12T05:03:35.184" v="1961" actId="2696"/>
        <pc:sldMkLst>
          <pc:docMk/>
          <pc:sldMk cId="3869321635" sldId="2147473691"/>
        </pc:sldMkLst>
      </pc:sldChg>
      <pc:sldChg chg="addSp delSp modSp mod">
        <pc:chgData name="Tường SKHĐT" userId="ab9568c39a88b08a" providerId="LiveId" clId="{A0A1AF5B-C8A6-4505-B2BC-7B9D5E4B6587}" dt="2023-06-12T05:10:32.383" v="2349" actId="20577"/>
        <pc:sldMkLst>
          <pc:docMk/>
          <pc:sldMk cId="3384527337" sldId="2147473719"/>
        </pc:sldMkLst>
        <pc:spChg chg="add mod">
          <ac:chgData name="Tường SKHĐT" userId="ab9568c39a88b08a" providerId="LiveId" clId="{A0A1AF5B-C8A6-4505-B2BC-7B9D5E4B6587}" dt="2023-06-12T05:10:32.383" v="2349" actId="20577"/>
          <ac:spMkLst>
            <pc:docMk/>
            <pc:sldMk cId="3384527337" sldId="2147473719"/>
            <ac:spMk id="2" creationId="{9F14B9B3-5115-5AE0-DD3D-5994DDB88039}"/>
          </ac:spMkLst>
        </pc:spChg>
        <pc:spChg chg="del mod">
          <ac:chgData name="Tường SKHĐT" userId="ab9568c39a88b08a" providerId="LiveId" clId="{A0A1AF5B-C8A6-4505-B2BC-7B9D5E4B6587}" dt="2023-06-12T05:07:41.866" v="2073" actId="21"/>
          <ac:spMkLst>
            <pc:docMk/>
            <pc:sldMk cId="3384527337" sldId="2147473719"/>
            <ac:spMk id="25" creationId="{01DC26C3-E6F4-C27A-8624-3A65D81B6008}"/>
          </ac:spMkLst>
        </pc:spChg>
      </pc:sldChg>
      <pc:sldChg chg="modSp mod">
        <pc:chgData name="Tường SKHĐT" userId="ab9568c39a88b08a" providerId="LiveId" clId="{A0A1AF5B-C8A6-4505-B2BC-7B9D5E4B6587}" dt="2023-06-12T05:41:38.989" v="3706" actId="207"/>
        <pc:sldMkLst>
          <pc:docMk/>
          <pc:sldMk cId="912302037" sldId="2147473721"/>
        </pc:sldMkLst>
        <pc:spChg chg="mod">
          <ac:chgData name="Tường SKHĐT" userId="ab9568c39a88b08a" providerId="LiveId" clId="{A0A1AF5B-C8A6-4505-B2BC-7B9D5E4B6587}" dt="2023-06-12T05:41:38.989" v="3706" actId="207"/>
          <ac:spMkLst>
            <pc:docMk/>
            <pc:sldMk cId="912302037" sldId="2147473721"/>
            <ac:spMk id="2" creationId="{D73C606B-AAEF-247E-530A-5EAC9C46FF0B}"/>
          </ac:spMkLst>
        </pc:spChg>
      </pc:sldChg>
      <pc:sldChg chg="modSp mod">
        <pc:chgData name="Tường SKHĐT" userId="ab9568c39a88b08a" providerId="LiveId" clId="{A0A1AF5B-C8A6-4505-B2BC-7B9D5E4B6587}" dt="2023-06-12T04:53:22.738" v="1823" actId="1076"/>
        <pc:sldMkLst>
          <pc:docMk/>
          <pc:sldMk cId="964652449" sldId="2147473728"/>
        </pc:sldMkLst>
        <pc:spChg chg="mod">
          <ac:chgData name="Tường SKHĐT" userId="ab9568c39a88b08a" providerId="LiveId" clId="{A0A1AF5B-C8A6-4505-B2BC-7B9D5E4B6587}" dt="2023-06-12T04:53:22.738" v="1823" actId="1076"/>
          <ac:spMkLst>
            <pc:docMk/>
            <pc:sldMk cId="964652449" sldId="2147473728"/>
            <ac:spMk id="11" creationId="{01DC26C3-E6F4-C27A-8624-3A65D81B6008}"/>
          </ac:spMkLst>
        </pc:spChg>
      </pc:sldChg>
      <pc:sldChg chg="del">
        <pc:chgData name="Tường SKHĐT" userId="ab9568c39a88b08a" providerId="LiveId" clId="{A0A1AF5B-C8A6-4505-B2BC-7B9D5E4B6587}" dt="2023-06-12T05:03:24.459" v="1960" actId="2696"/>
        <pc:sldMkLst>
          <pc:docMk/>
          <pc:sldMk cId="2964888231" sldId="2147473732"/>
        </pc:sldMkLst>
      </pc:sldChg>
      <pc:sldChg chg="addSp modSp mod">
        <pc:chgData name="Tường SKHĐT" userId="ab9568c39a88b08a" providerId="LiveId" clId="{A0A1AF5B-C8A6-4505-B2BC-7B9D5E4B6587}" dt="2023-06-12T05:10:19.642" v="2340" actId="1076"/>
        <pc:sldMkLst>
          <pc:docMk/>
          <pc:sldMk cId="2569991023" sldId="2147473733"/>
        </pc:sldMkLst>
        <pc:spChg chg="add mod">
          <ac:chgData name="Tường SKHĐT" userId="ab9568c39a88b08a" providerId="LiveId" clId="{A0A1AF5B-C8A6-4505-B2BC-7B9D5E4B6587}" dt="2023-06-12T05:10:17.946" v="2339" actId="1076"/>
          <ac:spMkLst>
            <pc:docMk/>
            <pc:sldMk cId="2569991023" sldId="2147473733"/>
            <ac:spMk id="2" creationId="{F8EF66F9-1D66-D782-0E4F-5E38DD126185}"/>
          </ac:spMkLst>
        </pc:spChg>
        <pc:graphicFrameChg chg="mod">
          <ac:chgData name="Tường SKHĐT" userId="ab9568c39a88b08a" providerId="LiveId" clId="{A0A1AF5B-C8A6-4505-B2BC-7B9D5E4B6587}" dt="2023-06-12T05:10:19.642" v="2340" actId="1076"/>
          <ac:graphicFrameMkLst>
            <pc:docMk/>
            <pc:sldMk cId="2569991023" sldId="2147473733"/>
            <ac:graphicFrameMk id="8" creationId="{B5E5335D-2EED-82AF-3A59-FAE8BB94EAE1}"/>
          </ac:graphicFrameMkLst>
        </pc:graphicFrameChg>
      </pc:sldChg>
      <pc:sldChg chg="modSp mod">
        <pc:chgData name="Tường SKHĐT" userId="ab9568c39a88b08a" providerId="LiveId" clId="{A0A1AF5B-C8A6-4505-B2BC-7B9D5E4B6587}" dt="2023-06-12T04:53:31.470" v="1825" actId="1076"/>
        <pc:sldMkLst>
          <pc:docMk/>
          <pc:sldMk cId="1775073472" sldId="2147473736"/>
        </pc:sldMkLst>
        <pc:spChg chg="mod">
          <ac:chgData name="Tường SKHĐT" userId="ab9568c39a88b08a" providerId="LiveId" clId="{A0A1AF5B-C8A6-4505-B2BC-7B9D5E4B6587}" dt="2023-06-12T04:53:29.218" v="1824" actId="1076"/>
          <ac:spMkLst>
            <pc:docMk/>
            <pc:sldMk cId="1775073472" sldId="2147473736"/>
            <ac:spMk id="9" creationId="{18AC359A-8ADF-9DAA-4CA1-F82A916F1E2E}"/>
          </ac:spMkLst>
        </pc:spChg>
        <pc:graphicFrameChg chg="mod">
          <ac:chgData name="Tường SKHĐT" userId="ab9568c39a88b08a" providerId="LiveId" clId="{A0A1AF5B-C8A6-4505-B2BC-7B9D5E4B6587}" dt="2023-06-12T04:53:31.470" v="1825" actId="1076"/>
          <ac:graphicFrameMkLst>
            <pc:docMk/>
            <pc:sldMk cId="1775073472" sldId="2147473736"/>
            <ac:graphicFrameMk id="6" creationId="{47027231-95EF-C8CE-4215-B126B807487B}"/>
          </ac:graphicFrameMkLst>
        </pc:graphicFrameChg>
      </pc:sldChg>
      <pc:sldChg chg="addSp delSp modSp mod">
        <pc:chgData name="Tường SKHĐT" userId="ab9568c39a88b08a" providerId="LiveId" clId="{A0A1AF5B-C8A6-4505-B2BC-7B9D5E4B6587}" dt="2023-06-12T05:27:14.023" v="2847" actId="20577"/>
        <pc:sldMkLst>
          <pc:docMk/>
          <pc:sldMk cId="3839081106" sldId="2147473738"/>
        </pc:sldMkLst>
        <pc:spChg chg="add mod">
          <ac:chgData name="Tường SKHĐT" userId="ab9568c39a88b08a" providerId="LiveId" clId="{A0A1AF5B-C8A6-4505-B2BC-7B9D5E4B6587}" dt="2023-06-12T05:11:39.166" v="2388" actId="1076"/>
          <ac:spMkLst>
            <pc:docMk/>
            <pc:sldMk cId="3839081106" sldId="2147473738"/>
            <ac:spMk id="2" creationId="{A2518717-EF87-0090-E7D4-4415084501BD}"/>
          </ac:spMkLst>
        </pc:spChg>
        <pc:spChg chg="add del mod">
          <ac:chgData name="Tường SKHĐT" userId="ab9568c39a88b08a" providerId="LiveId" clId="{A0A1AF5B-C8A6-4505-B2BC-7B9D5E4B6587}" dt="2023-06-12T05:11:35.218" v="2387" actId="21"/>
          <ac:spMkLst>
            <pc:docMk/>
            <pc:sldMk cId="3839081106" sldId="2147473738"/>
            <ac:spMk id="4" creationId="{97FE0673-B9D7-0A4D-F497-CF90A43280FA}"/>
          </ac:spMkLst>
        </pc:spChg>
        <pc:spChg chg="del">
          <ac:chgData name="Tường SKHĐT" userId="ab9568c39a88b08a" providerId="LiveId" clId="{A0A1AF5B-C8A6-4505-B2BC-7B9D5E4B6587}" dt="2023-06-12T05:11:32.612" v="2386" actId="21"/>
          <ac:spMkLst>
            <pc:docMk/>
            <pc:sldMk cId="3839081106" sldId="2147473738"/>
            <ac:spMk id="5" creationId="{D719EECE-B4EB-2250-6716-BE9AEEDC7A27}"/>
          </ac:spMkLst>
        </pc:spChg>
        <pc:spChg chg="mod">
          <ac:chgData name="Tường SKHĐT" userId="ab9568c39a88b08a" providerId="LiveId" clId="{A0A1AF5B-C8A6-4505-B2BC-7B9D5E4B6587}" dt="2023-06-12T05:26:44.842" v="2816" actId="20577"/>
          <ac:spMkLst>
            <pc:docMk/>
            <pc:sldMk cId="3839081106" sldId="2147473738"/>
            <ac:spMk id="20" creationId="{394D8737-1CA3-C18F-155A-3F82403D4E3B}"/>
          </ac:spMkLst>
        </pc:spChg>
        <pc:spChg chg="mod">
          <ac:chgData name="Tường SKHĐT" userId="ab9568c39a88b08a" providerId="LiveId" clId="{A0A1AF5B-C8A6-4505-B2BC-7B9D5E4B6587}" dt="2023-06-12T05:26:52.606" v="2830" actId="20577"/>
          <ac:spMkLst>
            <pc:docMk/>
            <pc:sldMk cId="3839081106" sldId="2147473738"/>
            <ac:spMk id="27" creationId="{8D0CB480-EC39-4DC1-0353-768C8526261D}"/>
          </ac:spMkLst>
        </pc:spChg>
        <pc:spChg chg="mod">
          <ac:chgData name="Tường SKHĐT" userId="ab9568c39a88b08a" providerId="LiveId" clId="{A0A1AF5B-C8A6-4505-B2BC-7B9D5E4B6587}" dt="2023-06-12T05:26:46.895" v="2818" actId="20577"/>
          <ac:spMkLst>
            <pc:docMk/>
            <pc:sldMk cId="3839081106" sldId="2147473738"/>
            <ac:spMk id="28" creationId="{0F9FC2CC-E142-6E69-C8D8-33B29DA66359}"/>
          </ac:spMkLst>
        </pc:spChg>
        <pc:spChg chg="mod">
          <ac:chgData name="Tường SKHĐT" userId="ab9568c39a88b08a" providerId="LiveId" clId="{A0A1AF5B-C8A6-4505-B2BC-7B9D5E4B6587}" dt="2023-06-12T05:26:56.586" v="2835" actId="20577"/>
          <ac:spMkLst>
            <pc:docMk/>
            <pc:sldMk cId="3839081106" sldId="2147473738"/>
            <ac:spMk id="29" creationId="{8DD5A653-6B03-584A-539A-C531FCC0C782}"/>
          </ac:spMkLst>
        </pc:spChg>
        <pc:spChg chg="mod">
          <ac:chgData name="Tường SKHĐT" userId="ab9568c39a88b08a" providerId="LiveId" clId="{A0A1AF5B-C8A6-4505-B2BC-7B9D5E4B6587}" dt="2023-06-12T05:27:10.890" v="2841" actId="20577"/>
          <ac:spMkLst>
            <pc:docMk/>
            <pc:sldMk cId="3839081106" sldId="2147473738"/>
            <ac:spMk id="37" creationId="{A633A4AB-4B54-9DFF-1D3F-EE9B0A4D52DA}"/>
          </ac:spMkLst>
        </pc:spChg>
        <pc:spChg chg="mod">
          <ac:chgData name="Tường SKHĐT" userId="ab9568c39a88b08a" providerId="LiveId" clId="{A0A1AF5B-C8A6-4505-B2BC-7B9D5E4B6587}" dt="2023-06-12T05:27:02.742" v="2839" actId="20577"/>
          <ac:spMkLst>
            <pc:docMk/>
            <pc:sldMk cId="3839081106" sldId="2147473738"/>
            <ac:spMk id="47" creationId="{615E2FF8-44B4-E5D2-386A-D270D5A07DA1}"/>
          </ac:spMkLst>
        </pc:spChg>
        <pc:spChg chg="mod">
          <ac:chgData name="Tường SKHĐT" userId="ab9568c39a88b08a" providerId="LiveId" clId="{A0A1AF5B-C8A6-4505-B2BC-7B9D5E4B6587}" dt="2023-06-12T05:27:14.023" v="2847" actId="20577"/>
          <ac:spMkLst>
            <pc:docMk/>
            <pc:sldMk cId="3839081106" sldId="2147473738"/>
            <ac:spMk id="53" creationId="{940E7436-8D16-138B-2BFE-178612083DAB}"/>
          </ac:spMkLst>
        </pc:spChg>
      </pc:sldChg>
      <pc:sldChg chg="del">
        <pc:chgData name="Tường SKHĐT" userId="ab9568c39a88b08a" providerId="LiveId" clId="{A0A1AF5B-C8A6-4505-B2BC-7B9D5E4B6587}" dt="2023-06-12T04:57:50.359" v="1911" actId="2696"/>
        <pc:sldMkLst>
          <pc:docMk/>
          <pc:sldMk cId="2648267713" sldId="2147473739"/>
        </pc:sldMkLst>
      </pc:sldChg>
      <pc:sldChg chg="addSp delSp modSp del mod">
        <pc:chgData name="Tường SKHĐT" userId="ab9568c39a88b08a" providerId="LiveId" clId="{A0A1AF5B-C8A6-4505-B2BC-7B9D5E4B6587}" dt="2023-06-12T04:09:34.596" v="475" actId="2696"/>
        <pc:sldMkLst>
          <pc:docMk/>
          <pc:sldMk cId="2196586738" sldId="2147473745"/>
        </pc:sldMkLst>
        <pc:spChg chg="add mod">
          <ac:chgData name="Tường SKHĐT" userId="ab9568c39a88b08a" providerId="LiveId" clId="{A0A1AF5B-C8A6-4505-B2BC-7B9D5E4B6587}" dt="2023-06-12T04:06:38.793" v="287" actId="20577"/>
          <ac:spMkLst>
            <pc:docMk/>
            <pc:sldMk cId="2196586738" sldId="2147473745"/>
            <ac:spMk id="3" creationId="{41F7B89A-950B-BCEA-7B34-24C31F06EEAE}"/>
          </ac:spMkLst>
        </pc:spChg>
        <pc:spChg chg="add mod">
          <ac:chgData name="Tường SKHĐT" userId="ab9568c39a88b08a" providerId="LiveId" clId="{A0A1AF5B-C8A6-4505-B2BC-7B9D5E4B6587}" dt="2023-06-12T04:08:06.134" v="468" actId="1076"/>
          <ac:spMkLst>
            <pc:docMk/>
            <pc:sldMk cId="2196586738" sldId="2147473745"/>
            <ac:spMk id="4" creationId="{F2F47907-BFA6-9C9C-7410-0773243570E0}"/>
          </ac:spMkLst>
        </pc:spChg>
        <pc:spChg chg="add mod">
          <ac:chgData name="Tường SKHĐT" userId="ab9568c39a88b08a" providerId="LiveId" clId="{A0A1AF5B-C8A6-4505-B2BC-7B9D5E4B6587}" dt="2023-06-12T04:07:57.891" v="465" actId="14100"/>
          <ac:spMkLst>
            <pc:docMk/>
            <pc:sldMk cId="2196586738" sldId="2147473745"/>
            <ac:spMk id="5" creationId="{85B0C6AB-4906-5932-12D4-5FAF7DC72C97}"/>
          </ac:spMkLst>
        </pc:spChg>
        <pc:spChg chg="del mod">
          <ac:chgData name="Tường SKHĐT" userId="ab9568c39a88b08a" providerId="LiveId" clId="{A0A1AF5B-C8A6-4505-B2BC-7B9D5E4B6587}" dt="2023-06-12T04:06:46.456" v="289" actId="21"/>
          <ac:spMkLst>
            <pc:docMk/>
            <pc:sldMk cId="2196586738" sldId="2147473745"/>
            <ac:spMk id="6" creationId="{249DB492-0ACE-EC4B-78A2-7FFF6DFB60DB}"/>
          </ac:spMkLst>
        </pc:spChg>
        <pc:spChg chg="del mod">
          <ac:chgData name="Tường SKHĐT" userId="ab9568c39a88b08a" providerId="LiveId" clId="{A0A1AF5B-C8A6-4505-B2BC-7B9D5E4B6587}" dt="2023-06-12T04:08:02.862" v="467" actId="21"/>
          <ac:spMkLst>
            <pc:docMk/>
            <pc:sldMk cId="2196586738" sldId="2147473745"/>
            <ac:spMk id="7" creationId="{249DB492-0ACE-EC4B-78A2-7FFF6DFB60DB}"/>
          </ac:spMkLst>
        </pc:spChg>
        <pc:spChg chg="del mod">
          <ac:chgData name="Tường SKHĐT" userId="ab9568c39a88b08a" providerId="LiveId" clId="{A0A1AF5B-C8A6-4505-B2BC-7B9D5E4B6587}" dt="2023-06-12T04:08:00.447" v="466" actId="21"/>
          <ac:spMkLst>
            <pc:docMk/>
            <pc:sldMk cId="2196586738" sldId="2147473745"/>
            <ac:spMk id="9" creationId="{D941B402-27FD-60A3-D08E-FE667B173AB3}"/>
          </ac:spMkLst>
        </pc:spChg>
      </pc:sldChg>
      <pc:sldChg chg="del">
        <pc:chgData name="Tường SKHĐT" userId="ab9568c39a88b08a" providerId="LiveId" clId="{A0A1AF5B-C8A6-4505-B2BC-7B9D5E4B6587}" dt="2023-06-12T04:10:52.955" v="491" actId="2696"/>
        <pc:sldMkLst>
          <pc:docMk/>
          <pc:sldMk cId="548865208" sldId="2147473747"/>
        </pc:sldMkLst>
      </pc:sldChg>
      <pc:sldChg chg="modSp">
        <pc:chgData name="Tường SKHĐT" userId="ab9568c39a88b08a" providerId="LiveId" clId="{A0A1AF5B-C8A6-4505-B2BC-7B9D5E4B6587}" dt="2023-06-12T04:53:54.846" v="1828" actId="14100"/>
        <pc:sldMkLst>
          <pc:docMk/>
          <pc:sldMk cId="3695198589" sldId="2147473750"/>
        </pc:sldMkLst>
        <pc:graphicFrameChg chg="mod">
          <ac:chgData name="Tường SKHĐT" userId="ab9568c39a88b08a" providerId="LiveId" clId="{A0A1AF5B-C8A6-4505-B2BC-7B9D5E4B6587}" dt="2023-06-12T04:53:54.846" v="1828" actId="14100"/>
          <ac:graphicFrameMkLst>
            <pc:docMk/>
            <pc:sldMk cId="3695198589" sldId="2147473750"/>
            <ac:graphicFrameMk id="3" creationId="{A5FB3A6E-B32E-C0AF-953C-6DA986BEDA07}"/>
          </ac:graphicFrameMkLst>
        </pc:graphicFrameChg>
      </pc:sldChg>
      <pc:sldChg chg="del">
        <pc:chgData name="Tường SKHĐT" userId="ab9568c39a88b08a" providerId="LiveId" clId="{A0A1AF5B-C8A6-4505-B2BC-7B9D5E4B6587}" dt="2023-06-12T05:01:01.504" v="1950" actId="2696"/>
        <pc:sldMkLst>
          <pc:docMk/>
          <pc:sldMk cId="1980939669" sldId="2147473751"/>
        </pc:sldMkLst>
      </pc:sldChg>
      <pc:sldChg chg="addSp delSp modSp mod">
        <pc:chgData name="Tường SKHĐT" userId="ab9568c39a88b08a" providerId="LiveId" clId="{A0A1AF5B-C8A6-4505-B2BC-7B9D5E4B6587}" dt="2023-06-12T05:13:10.954" v="2546" actId="20577"/>
        <pc:sldMkLst>
          <pc:docMk/>
          <pc:sldMk cId="639639902" sldId="2147473754"/>
        </pc:sldMkLst>
        <pc:spChg chg="add mod">
          <ac:chgData name="Tường SKHĐT" userId="ab9568c39a88b08a" providerId="LiveId" clId="{A0A1AF5B-C8A6-4505-B2BC-7B9D5E4B6587}" dt="2023-06-12T05:13:10.954" v="2546" actId="20577"/>
          <ac:spMkLst>
            <pc:docMk/>
            <pc:sldMk cId="639639902" sldId="2147473754"/>
            <ac:spMk id="2" creationId="{79CE9985-9E32-695F-3871-1037CABA4789}"/>
          </ac:spMkLst>
        </pc:spChg>
        <pc:spChg chg="del">
          <ac:chgData name="Tường SKHĐT" userId="ab9568c39a88b08a" providerId="LiveId" clId="{A0A1AF5B-C8A6-4505-B2BC-7B9D5E4B6587}" dt="2023-06-12T05:12:58.753" v="2541" actId="21"/>
          <ac:spMkLst>
            <pc:docMk/>
            <pc:sldMk cId="639639902" sldId="2147473754"/>
            <ac:spMk id="3" creationId="{2BF4C964-5B51-155D-1FCC-AF55E074D424}"/>
          </ac:spMkLst>
        </pc:spChg>
        <pc:cxnChg chg="del">
          <ac:chgData name="Tường SKHĐT" userId="ab9568c39a88b08a" providerId="LiveId" clId="{A0A1AF5B-C8A6-4505-B2BC-7B9D5E4B6587}" dt="2023-06-12T05:13:00.268" v="2542" actId="21"/>
          <ac:cxnSpMkLst>
            <pc:docMk/>
            <pc:sldMk cId="639639902" sldId="2147473754"/>
            <ac:cxnSpMk id="4" creationId="{E9FC4CD0-864C-B653-BFF6-442A276263F2}"/>
          </ac:cxnSpMkLst>
        </pc:cxnChg>
      </pc:sldChg>
      <pc:sldChg chg="modSp mod">
        <pc:chgData name="Tường SKHĐT" userId="ab9568c39a88b08a" providerId="LiveId" clId="{A0A1AF5B-C8A6-4505-B2BC-7B9D5E4B6587}" dt="2023-06-12T04:53:36.570" v="1826" actId="1076"/>
        <pc:sldMkLst>
          <pc:docMk/>
          <pc:sldMk cId="386469802" sldId="2147473758"/>
        </pc:sldMkLst>
        <pc:spChg chg="mod">
          <ac:chgData name="Tường SKHĐT" userId="ab9568c39a88b08a" providerId="LiveId" clId="{A0A1AF5B-C8A6-4505-B2BC-7B9D5E4B6587}" dt="2023-06-12T04:53:36.570" v="1826" actId="1076"/>
          <ac:spMkLst>
            <pc:docMk/>
            <pc:sldMk cId="386469802" sldId="2147473758"/>
            <ac:spMk id="9" creationId="{18AC359A-8ADF-9DAA-4CA1-F82A916F1E2E}"/>
          </ac:spMkLst>
        </pc:spChg>
      </pc:sldChg>
      <pc:sldChg chg="addSp delSp modSp add mod">
        <pc:chgData name="Tường SKHĐT" userId="ab9568c39a88b08a" providerId="LiveId" clId="{A0A1AF5B-C8A6-4505-B2BC-7B9D5E4B6587}" dt="2023-06-12T05:01:54.826" v="1956" actId="1076"/>
        <pc:sldMkLst>
          <pc:docMk/>
          <pc:sldMk cId="3587433405" sldId="2147473759"/>
        </pc:sldMkLst>
        <pc:spChg chg="mod">
          <ac:chgData name="Tường SKHĐT" userId="ab9568c39a88b08a" providerId="LiveId" clId="{A0A1AF5B-C8A6-4505-B2BC-7B9D5E4B6587}" dt="2023-06-12T04:55:00.321" v="1876" actId="20577"/>
          <ac:spMkLst>
            <pc:docMk/>
            <pc:sldMk cId="3587433405" sldId="2147473759"/>
            <ac:spMk id="2" creationId="{C9C54BA1-2A4A-3092-6E61-540C9E74E66E}"/>
          </ac:spMkLst>
        </pc:spChg>
        <pc:spChg chg="del mod">
          <ac:chgData name="Tường SKHĐT" userId="ab9568c39a88b08a" providerId="LiveId" clId="{A0A1AF5B-C8A6-4505-B2BC-7B9D5E4B6587}" dt="2023-06-12T04:59:45.651" v="1940" actId="21"/>
          <ac:spMkLst>
            <pc:docMk/>
            <pc:sldMk cId="3587433405" sldId="2147473759"/>
            <ac:spMk id="3" creationId="{2F35D704-E24D-64B1-0BF7-40F7CE667286}"/>
          </ac:spMkLst>
        </pc:spChg>
        <pc:spChg chg="add mod">
          <ac:chgData name="Tường SKHĐT" userId="ab9568c39a88b08a" providerId="LiveId" clId="{A0A1AF5B-C8A6-4505-B2BC-7B9D5E4B6587}" dt="2023-06-12T04:59:49.193" v="1941" actId="1076"/>
          <ac:spMkLst>
            <pc:docMk/>
            <pc:sldMk cId="3587433405" sldId="2147473759"/>
            <ac:spMk id="5" creationId="{4F17B82E-1B69-F4AD-F096-FABFD39A8027}"/>
          </ac:spMkLst>
        </pc:spChg>
        <pc:graphicFrameChg chg="del">
          <ac:chgData name="Tường SKHĐT" userId="ab9568c39a88b08a" providerId="LiveId" clId="{A0A1AF5B-C8A6-4505-B2BC-7B9D5E4B6587}" dt="2023-06-12T05:01:38.785" v="1953" actId="21"/>
          <ac:graphicFrameMkLst>
            <pc:docMk/>
            <pc:sldMk cId="3587433405" sldId="2147473759"/>
            <ac:graphicFrameMk id="4" creationId="{1C3949F6-165B-37DA-0AD7-A2E90FD73E1C}"/>
          </ac:graphicFrameMkLst>
        </pc:graphicFrameChg>
        <pc:graphicFrameChg chg="mod">
          <ac:chgData name="Tường SKHĐT" userId="ab9568c39a88b08a" providerId="LiveId" clId="{A0A1AF5B-C8A6-4505-B2BC-7B9D5E4B6587}" dt="2023-06-12T05:01:54.826" v="1956" actId="1076"/>
          <ac:graphicFrameMkLst>
            <pc:docMk/>
            <pc:sldMk cId="3587433405" sldId="2147473759"/>
            <ac:graphicFrameMk id="6" creationId="{70DD63C3-76F1-35B3-77EC-77EA21D4D2FE}"/>
          </ac:graphicFrameMkLst>
        </pc:graphicFrameChg>
      </pc:sldChg>
      <pc:sldChg chg="del">
        <pc:chgData name="Tường SKHĐT" userId="ab9568c39a88b08a" providerId="LiveId" clId="{A0A1AF5B-C8A6-4505-B2BC-7B9D5E4B6587}" dt="2023-06-12T05:03:38.687" v="1962" actId="2696"/>
        <pc:sldMkLst>
          <pc:docMk/>
          <pc:sldMk cId="3141092668" sldId="2147473760"/>
        </pc:sldMkLst>
      </pc:sldChg>
      <pc:sldChg chg="addSp delSp modSp mod">
        <pc:chgData name="Tường SKHĐT" userId="ab9568c39a88b08a" providerId="LiveId" clId="{A0A1AF5B-C8A6-4505-B2BC-7B9D5E4B6587}" dt="2023-06-12T04:42:48.886" v="1320" actId="14100"/>
        <pc:sldMkLst>
          <pc:docMk/>
          <pc:sldMk cId="4255944904" sldId="2147473766"/>
        </pc:sldMkLst>
        <pc:spChg chg="add mod">
          <ac:chgData name="Tường SKHĐT" userId="ab9568c39a88b08a" providerId="LiveId" clId="{A0A1AF5B-C8A6-4505-B2BC-7B9D5E4B6587}" dt="2023-06-12T04:42:45.128" v="1319" actId="20577"/>
          <ac:spMkLst>
            <pc:docMk/>
            <pc:sldMk cId="4255944904" sldId="2147473766"/>
            <ac:spMk id="2" creationId="{AD32428D-DFD3-1A5A-AD7B-B47617223596}"/>
          </ac:spMkLst>
        </pc:spChg>
        <pc:spChg chg="del">
          <ac:chgData name="Tường SKHĐT" userId="ab9568c39a88b08a" providerId="LiveId" clId="{A0A1AF5B-C8A6-4505-B2BC-7B9D5E4B6587}" dt="2023-06-12T04:42:39.757" v="1316" actId="21"/>
          <ac:spMkLst>
            <pc:docMk/>
            <pc:sldMk cId="4255944904" sldId="2147473766"/>
            <ac:spMk id="6" creationId="{D941B402-27FD-60A3-D08E-FE667B173AB3}"/>
          </ac:spMkLst>
        </pc:spChg>
        <pc:graphicFrameChg chg="mod">
          <ac:chgData name="Tường SKHĐT" userId="ab9568c39a88b08a" providerId="LiveId" clId="{A0A1AF5B-C8A6-4505-B2BC-7B9D5E4B6587}" dt="2023-06-12T04:42:48.886" v="1320" actId="14100"/>
          <ac:graphicFrameMkLst>
            <pc:docMk/>
            <pc:sldMk cId="4255944904" sldId="2147473766"/>
            <ac:graphicFrameMk id="4" creationId="{365C2945-1321-97F7-6CEB-6B75DD3AAE2D}"/>
          </ac:graphicFrameMkLst>
        </pc:graphicFrameChg>
      </pc:sldChg>
      <pc:sldChg chg="addSp delSp modSp mod">
        <pc:chgData name="Tường SKHĐT" userId="ab9568c39a88b08a" providerId="LiveId" clId="{A0A1AF5B-C8A6-4505-B2BC-7B9D5E4B6587}" dt="2023-06-12T04:43:10.932" v="1340" actId="1076"/>
        <pc:sldMkLst>
          <pc:docMk/>
          <pc:sldMk cId="2518956890" sldId="2147473767"/>
        </pc:sldMkLst>
        <pc:spChg chg="add mod">
          <ac:chgData name="Tường SKHĐT" userId="ab9568c39a88b08a" providerId="LiveId" clId="{A0A1AF5B-C8A6-4505-B2BC-7B9D5E4B6587}" dt="2023-06-12T04:43:10.932" v="1340" actId="1076"/>
          <ac:spMkLst>
            <pc:docMk/>
            <pc:sldMk cId="2518956890" sldId="2147473767"/>
            <ac:spMk id="2" creationId="{438A3ED9-DC1A-7623-0986-EEE26CDF7043}"/>
          </ac:spMkLst>
        </pc:spChg>
        <pc:spChg chg="del">
          <ac:chgData name="Tường SKHĐT" userId="ab9568c39a88b08a" providerId="LiveId" clId="{A0A1AF5B-C8A6-4505-B2BC-7B9D5E4B6587}" dt="2023-06-12T04:43:08.642" v="1339" actId="21"/>
          <ac:spMkLst>
            <pc:docMk/>
            <pc:sldMk cId="2518956890" sldId="2147473767"/>
            <ac:spMk id="7" creationId="{D941B402-27FD-60A3-D08E-FE667B173AB3}"/>
          </ac:spMkLst>
        </pc:spChg>
      </pc:sldChg>
      <pc:sldChg chg="addSp delSp modSp mod">
        <pc:chgData name="Tường SKHĐT" userId="ab9568c39a88b08a" providerId="LiveId" clId="{A0A1AF5B-C8A6-4505-B2BC-7B9D5E4B6587}" dt="2023-06-12T05:10:23.297" v="2343" actId="20577"/>
        <pc:sldMkLst>
          <pc:docMk/>
          <pc:sldMk cId="4140657677" sldId="2147473770"/>
        </pc:sldMkLst>
        <pc:spChg chg="del">
          <ac:chgData name="Tường SKHĐT" userId="ab9568c39a88b08a" providerId="LiveId" clId="{A0A1AF5B-C8A6-4505-B2BC-7B9D5E4B6587}" dt="2023-06-12T05:06:17.418" v="2049" actId="21"/>
          <ac:spMkLst>
            <pc:docMk/>
            <pc:sldMk cId="4140657677" sldId="2147473770"/>
            <ac:spMk id="2" creationId="{85B15777-9A9B-83C0-EAE1-18A3DD8356D6}"/>
          </ac:spMkLst>
        </pc:spChg>
        <pc:spChg chg="add mod">
          <ac:chgData name="Tường SKHĐT" userId="ab9568c39a88b08a" providerId="LiveId" clId="{A0A1AF5B-C8A6-4505-B2BC-7B9D5E4B6587}" dt="2023-06-12T05:10:23.297" v="2343" actId="20577"/>
          <ac:spMkLst>
            <pc:docMk/>
            <pc:sldMk cId="4140657677" sldId="2147473770"/>
            <ac:spMk id="5" creationId="{7732BB98-8A61-4A97-4E15-62F2E397C82B}"/>
          </ac:spMkLst>
        </pc:spChg>
        <pc:spChg chg="add del mod">
          <ac:chgData name="Tường SKHĐT" userId="ab9568c39a88b08a" providerId="LiveId" clId="{A0A1AF5B-C8A6-4505-B2BC-7B9D5E4B6587}" dt="2023-06-12T05:06:22.895" v="2050" actId="21"/>
          <ac:spMkLst>
            <pc:docMk/>
            <pc:sldMk cId="4140657677" sldId="2147473770"/>
            <ac:spMk id="7" creationId="{A157BF01-9A7E-6B95-EBC9-A3AC7E8CBC62}"/>
          </ac:spMkLst>
        </pc:spChg>
      </pc:sldChg>
      <pc:sldChg chg="modSp mod">
        <pc:chgData name="Tường SKHĐT" userId="ab9568c39a88b08a" providerId="LiveId" clId="{A0A1AF5B-C8A6-4505-B2BC-7B9D5E4B6587}" dt="2023-06-12T05:03:46.702" v="1965" actId="1076"/>
        <pc:sldMkLst>
          <pc:docMk/>
          <pc:sldMk cId="151479067" sldId="2147473792"/>
        </pc:sldMkLst>
        <pc:spChg chg="mod">
          <ac:chgData name="Tường SKHĐT" userId="ab9568c39a88b08a" providerId="LiveId" clId="{A0A1AF5B-C8A6-4505-B2BC-7B9D5E4B6587}" dt="2023-06-12T05:03:46.702" v="1965" actId="1076"/>
          <ac:spMkLst>
            <pc:docMk/>
            <pc:sldMk cId="151479067" sldId="2147473792"/>
            <ac:spMk id="9" creationId="{22359E8A-8D97-394A-42E1-F5A568F7E097}"/>
          </ac:spMkLst>
        </pc:spChg>
        <pc:spChg chg="mod">
          <ac:chgData name="Tường SKHĐT" userId="ab9568c39a88b08a" providerId="LiveId" clId="{A0A1AF5B-C8A6-4505-B2BC-7B9D5E4B6587}" dt="2023-06-12T05:03:43.916" v="1964" actId="20577"/>
          <ac:spMkLst>
            <pc:docMk/>
            <pc:sldMk cId="151479067" sldId="2147473792"/>
            <ac:spMk id="27" creationId="{01DC26C3-E6F4-C27A-8624-3A65D81B6008}"/>
          </ac:spMkLst>
        </pc:spChg>
      </pc:sldChg>
      <pc:sldChg chg="modSp add mod">
        <pc:chgData name="Tường SKHĐT" userId="ab9568c39a88b08a" providerId="LiveId" clId="{A0A1AF5B-C8A6-4505-B2BC-7B9D5E4B6587}" dt="2023-06-12T04:59:29.566" v="1931" actId="1076"/>
        <pc:sldMkLst>
          <pc:docMk/>
          <pc:sldMk cId="1652311740" sldId="2147473795"/>
        </pc:sldMkLst>
        <pc:graphicFrameChg chg="mod">
          <ac:chgData name="Tường SKHĐT" userId="ab9568c39a88b08a" providerId="LiveId" clId="{A0A1AF5B-C8A6-4505-B2BC-7B9D5E4B6587}" dt="2023-06-12T04:59:29.566" v="1931" actId="1076"/>
          <ac:graphicFrameMkLst>
            <pc:docMk/>
            <pc:sldMk cId="1652311740" sldId="2147473795"/>
            <ac:graphicFrameMk id="2" creationId="{3BF8E8E2-FC7A-766D-120A-12F0136F960F}"/>
          </ac:graphicFrameMkLst>
        </pc:graphicFrameChg>
        <pc:picChg chg="mod">
          <ac:chgData name="Tường SKHĐT" userId="ab9568c39a88b08a" providerId="LiveId" clId="{A0A1AF5B-C8A6-4505-B2BC-7B9D5E4B6587}" dt="2023-06-12T04:54:15.378" v="1831" actId="14100"/>
          <ac:picMkLst>
            <pc:docMk/>
            <pc:sldMk cId="1652311740" sldId="2147473795"/>
            <ac:picMk id="1026" creationId="{A887CE03-8559-81A5-3548-787EEA0450CF}"/>
          </ac:picMkLst>
        </pc:picChg>
      </pc:sldChg>
      <pc:sldChg chg="del">
        <pc:chgData name="Tường SKHĐT" userId="ab9568c39a88b08a" providerId="LiveId" clId="{A0A1AF5B-C8A6-4505-B2BC-7B9D5E4B6587}" dt="2023-06-12T04:11:21.593" v="495" actId="2696"/>
        <pc:sldMkLst>
          <pc:docMk/>
          <pc:sldMk cId="1326740925" sldId="2147473796"/>
        </pc:sldMkLst>
      </pc:sldChg>
      <pc:sldChg chg="add">
        <pc:chgData name="Tường SKHĐT" userId="ab9568c39a88b08a" providerId="LiveId" clId="{A0A1AF5B-C8A6-4505-B2BC-7B9D5E4B6587}" dt="2023-06-12T04:25:22.949" v="498"/>
        <pc:sldMkLst>
          <pc:docMk/>
          <pc:sldMk cId="374992807" sldId="2147473797"/>
        </pc:sldMkLst>
      </pc:sldChg>
      <pc:sldChg chg="modSp add mod">
        <pc:chgData name="Tường SKHĐT" userId="ab9568c39a88b08a" providerId="LiveId" clId="{A0A1AF5B-C8A6-4505-B2BC-7B9D5E4B6587}" dt="2023-06-12T05:00:33.700" v="1949" actId="1076"/>
        <pc:sldMkLst>
          <pc:docMk/>
          <pc:sldMk cId="1258887434" sldId="2147473798"/>
        </pc:sldMkLst>
        <pc:spChg chg="mod">
          <ac:chgData name="Tường SKHĐT" userId="ab9568c39a88b08a" providerId="LiveId" clId="{A0A1AF5B-C8A6-4505-B2BC-7B9D5E4B6587}" dt="2023-06-12T05:00:31.112" v="1948" actId="1076"/>
          <ac:spMkLst>
            <pc:docMk/>
            <pc:sldMk cId="1258887434" sldId="2147473798"/>
            <ac:spMk id="3" creationId="{2140C7B0-05C1-C164-779C-CE0FEAAA409A}"/>
          </ac:spMkLst>
        </pc:spChg>
        <pc:graphicFrameChg chg="mod modGraphic">
          <ac:chgData name="Tường SKHĐT" userId="ab9568c39a88b08a" providerId="LiveId" clId="{A0A1AF5B-C8A6-4505-B2BC-7B9D5E4B6587}" dt="2023-06-12T05:00:33.700" v="1949" actId="1076"/>
          <ac:graphicFrameMkLst>
            <pc:docMk/>
            <pc:sldMk cId="1258887434" sldId="2147473798"/>
            <ac:graphicFrameMk id="8" creationId="{FF75C5B9-FA20-47F5-0041-B54776507D44}"/>
          </ac:graphicFrameMkLst>
        </pc:graphicFrameChg>
      </pc:sldChg>
      <pc:sldChg chg="del">
        <pc:chgData name="Tường SKHĐT" userId="ab9568c39a88b08a" providerId="LiveId" clId="{A0A1AF5B-C8A6-4505-B2BC-7B9D5E4B6587}" dt="2023-06-12T05:03:02.327" v="1958" actId="2696"/>
        <pc:sldMkLst>
          <pc:docMk/>
          <pc:sldMk cId="3334048373" sldId="2147473799"/>
        </pc:sldMkLst>
      </pc:sldChg>
      <pc:sldChg chg="addSp delSp modSp add mod">
        <pc:chgData name="Tường SKHĐT" userId="ab9568c39a88b08a" providerId="LiveId" clId="{A0A1AF5B-C8A6-4505-B2BC-7B9D5E4B6587}" dt="2023-06-12T05:22:00.086" v="2747" actId="1076"/>
        <pc:sldMkLst>
          <pc:docMk/>
          <pc:sldMk cId="2028050016" sldId="2147473800"/>
        </pc:sldMkLst>
        <pc:spChg chg="mod">
          <ac:chgData name="Tường SKHĐT" userId="ab9568c39a88b08a" providerId="LiveId" clId="{A0A1AF5B-C8A6-4505-B2BC-7B9D5E4B6587}" dt="2023-06-12T05:22:00.086" v="2747" actId="1076"/>
          <ac:spMkLst>
            <pc:docMk/>
            <pc:sldMk cId="2028050016" sldId="2147473800"/>
            <ac:spMk id="25" creationId="{01DC26C3-E6F4-C27A-8624-3A65D81B6008}"/>
          </ac:spMkLst>
        </pc:spChg>
        <pc:graphicFrameChg chg="add mod">
          <ac:chgData name="Tường SKHĐT" userId="ab9568c39a88b08a" providerId="LiveId" clId="{A0A1AF5B-C8A6-4505-B2BC-7B9D5E4B6587}" dt="2023-06-12T04:57:06.890" v="1910" actId="1076"/>
          <ac:graphicFrameMkLst>
            <pc:docMk/>
            <pc:sldMk cId="2028050016" sldId="2147473800"/>
            <ac:graphicFrameMk id="2" creationId="{207C86B0-DBF4-FD20-221B-BD96FD50EA79}"/>
          </ac:graphicFrameMkLst>
        </pc:graphicFrameChg>
        <pc:graphicFrameChg chg="del">
          <ac:chgData name="Tường SKHĐT" userId="ab9568c39a88b08a" providerId="LiveId" clId="{A0A1AF5B-C8A6-4505-B2BC-7B9D5E4B6587}" dt="2023-06-12T04:57:02.492" v="1909" actId="21"/>
          <ac:graphicFrameMkLst>
            <pc:docMk/>
            <pc:sldMk cId="2028050016" sldId="2147473800"/>
            <ac:graphicFrameMk id="8" creationId="{B5E5335D-2EED-82AF-3A59-FAE8BB94EAE1}"/>
          </ac:graphicFrameMkLst>
        </pc:graphicFrameChg>
      </pc:sldChg>
      <pc:sldChg chg="addSp delSp modSp mod">
        <pc:chgData name="Tường SKHĐT" userId="ab9568c39a88b08a" providerId="LiveId" clId="{A0A1AF5B-C8A6-4505-B2BC-7B9D5E4B6587}" dt="2023-06-12T04:50:30.707" v="1712" actId="113"/>
        <pc:sldMkLst>
          <pc:docMk/>
          <pc:sldMk cId="3095520690" sldId="2147473801"/>
        </pc:sldMkLst>
        <pc:spChg chg="add mod">
          <ac:chgData name="Tường SKHĐT" userId="ab9568c39a88b08a" providerId="LiveId" clId="{A0A1AF5B-C8A6-4505-B2BC-7B9D5E4B6587}" dt="2023-06-12T04:43:35.707" v="1391" actId="1076"/>
          <ac:spMkLst>
            <pc:docMk/>
            <pc:sldMk cId="3095520690" sldId="2147473801"/>
            <ac:spMk id="2" creationId="{FF5FE1AB-790D-F2AD-5642-8CFCF4209F5A}"/>
          </ac:spMkLst>
        </pc:spChg>
        <pc:spChg chg="add mod">
          <ac:chgData name="Tường SKHĐT" userId="ab9568c39a88b08a" providerId="LiveId" clId="{A0A1AF5B-C8A6-4505-B2BC-7B9D5E4B6587}" dt="2023-06-12T04:43:49.879" v="1416" actId="1076"/>
          <ac:spMkLst>
            <pc:docMk/>
            <pc:sldMk cId="3095520690" sldId="2147473801"/>
            <ac:spMk id="3" creationId="{D5A12347-8B3F-FD0A-4985-F0A0362D6EDD}"/>
          </ac:spMkLst>
        </pc:spChg>
        <pc:spChg chg="del">
          <ac:chgData name="Tường SKHĐT" userId="ab9568c39a88b08a" providerId="LiveId" clId="{A0A1AF5B-C8A6-4505-B2BC-7B9D5E4B6587}" dt="2023-06-12T04:43:33.387" v="1390" actId="21"/>
          <ac:spMkLst>
            <pc:docMk/>
            <pc:sldMk cId="3095520690" sldId="2147473801"/>
            <ac:spMk id="4" creationId="{9B1EE58E-003F-122B-AAA3-4CD0DC67997A}"/>
          </ac:spMkLst>
        </pc:spChg>
        <pc:spChg chg="del">
          <ac:chgData name="Tường SKHĐT" userId="ab9568c39a88b08a" providerId="LiveId" clId="{A0A1AF5B-C8A6-4505-B2BC-7B9D5E4B6587}" dt="2023-06-12T04:43:47.767" v="1415" actId="21"/>
          <ac:spMkLst>
            <pc:docMk/>
            <pc:sldMk cId="3095520690" sldId="2147473801"/>
            <ac:spMk id="6" creationId="{D941B402-27FD-60A3-D08E-FE667B173AB3}"/>
          </ac:spMkLst>
        </pc:spChg>
        <pc:graphicFrameChg chg="mod modGraphic">
          <ac:chgData name="Tường SKHĐT" userId="ab9568c39a88b08a" providerId="LiveId" clId="{A0A1AF5B-C8A6-4505-B2BC-7B9D5E4B6587}" dt="2023-06-12T04:50:30.707" v="1712" actId="113"/>
          <ac:graphicFrameMkLst>
            <pc:docMk/>
            <pc:sldMk cId="3095520690" sldId="2147473801"/>
            <ac:graphicFrameMk id="5" creationId="{B5E5335D-2EED-82AF-3A59-FAE8BB94EAE1}"/>
          </ac:graphicFrameMkLst>
        </pc:graphicFrameChg>
      </pc:sldChg>
      <pc:sldChg chg="addSp delSp modSp mod">
        <pc:chgData name="Tường SKHĐT" userId="ab9568c39a88b08a" providerId="LiveId" clId="{A0A1AF5B-C8A6-4505-B2BC-7B9D5E4B6587}" dt="2023-06-12T04:53:07.729" v="1822" actId="1076"/>
        <pc:sldMkLst>
          <pc:docMk/>
          <pc:sldMk cId="3639331486" sldId="2147473803"/>
        </pc:sldMkLst>
        <pc:spChg chg="add mod">
          <ac:chgData name="Tường SKHĐT" userId="ab9568c39a88b08a" providerId="LiveId" clId="{A0A1AF5B-C8A6-4505-B2BC-7B9D5E4B6587}" dt="2023-06-12T04:53:00.147" v="1819" actId="14100"/>
          <ac:spMkLst>
            <pc:docMk/>
            <pc:sldMk cId="3639331486" sldId="2147473803"/>
            <ac:spMk id="2" creationId="{AC5B4F37-4AA8-473F-AAED-FA4A86EF1B4F}"/>
          </ac:spMkLst>
        </pc:spChg>
        <pc:spChg chg="del">
          <ac:chgData name="Tường SKHĐT" userId="ab9568c39a88b08a" providerId="LiveId" clId="{A0A1AF5B-C8A6-4505-B2BC-7B9D5E4B6587}" dt="2023-06-12T04:52:49.122" v="1814" actId="21"/>
          <ac:spMkLst>
            <pc:docMk/>
            <pc:sldMk cId="3639331486" sldId="2147473803"/>
            <ac:spMk id="7" creationId="{E2060C7B-D80B-2D4B-6C50-1215E3EA3460}"/>
          </ac:spMkLst>
        </pc:spChg>
        <pc:graphicFrameChg chg="mod">
          <ac:chgData name="Tường SKHĐT" userId="ab9568c39a88b08a" providerId="LiveId" clId="{A0A1AF5B-C8A6-4505-B2BC-7B9D5E4B6587}" dt="2023-06-12T04:53:03.794" v="1820" actId="1076"/>
          <ac:graphicFrameMkLst>
            <pc:docMk/>
            <pc:sldMk cId="3639331486" sldId="2147473803"/>
            <ac:graphicFrameMk id="3" creationId="{2B60E389-3C15-E216-2343-FACD1755B5AD}"/>
          </ac:graphicFrameMkLst>
        </pc:graphicFrameChg>
        <pc:graphicFrameChg chg="mod">
          <ac:chgData name="Tường SKHĐT" userId="ab9568c39a88b08a" providerId="LiveId" clId="{A0A1AF5B-C8A6-4505-B2BC-7B9D5E4B6587}" dt="2023-06-12T04:53:07.729" v="1822" actId="1076"/>
          <ac:graphicFrameMkLst>
            <pc:docMk/>
            <pc:sldMk cId="3639331486" sldId="2147473803"/>
            <ac:graphicFrameMk id="4" creationId="{10020C62-DCED-F22A-3371-D9E940142385}"/>
          </ac:graphicFrameMkLst>
        </pc:graphicFrameChg>
        <pc:picChg chg="mod">
          <ac:chgData name="Tường SKHĐT" userId="ab9568c39a88b08a" providerId="LiveId" clId="{A0A1AF5B-C8A6-4505-B2BC-7B9D5E4B6587}" dt="2023-06-12T04:53:05.230" v="1821" actId="1076"/>
          <ac:picMkLst>
            <pc:docMk/>
            <pc:sldMk cId="3639331486" sldId="2147473803"/>
            <ac:picMk id="1028" creationId="{6BE3EB7E-E3A6-4F75-82A7-DD72F3804434}"/>
          </ac:picMkLst>
        </pc:picChg>
      </pc:sldChg>
      <pc:sldChg chg="modSp mod">
        <pc:chgData name="Tường SKHĐT" userId="ab9568c39a88b08a" providerId="LiveId" clId="{A0A1AF5B-C8A6-4505-B2BC-7B9D5E4B6587}" dt="2023-06-12T05:05:01.172" v="1983" actId="20577"/>
        <pc:sldMkLst>
          <pc:docMk/>
          <pc:sldMk cId="3887791985" sldId="2147473805"/>
        </pc:sldMkLst>
        <pc:spChg chg="mod">
          <ac:chgData name="Tường SKHĐT" userId="ab9568c39a88b08a" providerId="LiveId" clId="{A0A1AF5B-C8A6-4505-B2BC-7B9D5E4B6587}" dt="2023-06-12T04:51:49.706" v="1732" actId="113"/>
          <ac:spMkLst>
            <pc:docMk/>
            <pc:sldMk cId="3887791985" sldId="2147473805"/>
            <ac:spMk id="2" creationId="{9B1EE58E-003F-122B-AAA3-4CD0DC67997A}"/>
          </ac:spMkLst>
        </pc:spChg>
        <pc:graphicFrameChg chg="modGraphic">
          <ac:chgData name="Tường SKHĐT" userId="ab9568c39a88b08a" providerId="LiveId" clId="{A0A1AF5B-C8A6-4505-B2BC-7B9D5E4B6587}" dt="2023-06-12T05:05:01.172" v="1983" actId="20577"/>
          <ac:graphicFrameMkLst>
            <pc:docMk/>
            <pc:sldMk cId="3887791985" sldId="2147473805"/>
            <ac:graphicFrameMk id="5" creationId="{B5E5335D-2EED-82AF-3A59-FAE8BB94EAE1}"/>
          </ac:graphicFrameMkLst>
        </pc:graphicFrameChg>
      </pc:sldChg>
      <pc:sldChg chg="addSp delSp modSp mod">
        <pc:chgData name="Tường SKHĐT" userId="ab9568c39a88b08a" providerId="LiveId" clId="{A0A1AF5B-C8A6-4505-B2BC-7B9D5E4B6587}" dt="2023-06-12T04:51:42.936" v="1731" actId="20577"/>
        <pc:sldMkLst>
          <pc:docMk/>
          <pc:sldMk cId="520020494" sldId="2147473806"/>
        </pc:sldMkLst>
        <pc:spChg chg="add mod">
          <ac:chgData name="Tường SKHĐT" userId="ab9568c39a88b08a" providerId="LiveId" clId="{A0A1AF5B-C8A6-4505-B2BC-7B9D5E4B6587}" dt="2023-06-12T04:50:46.380" v="1720" actId="1076"/>
          <ac:spMkLst>
            <pc:docMk/>
            <pc:sldMk cId="520020494" sldId="2147473806"/>
            <ac:spMk id="2" creationId="{EAEE3DC6-2C24-8C50-E398-E5005906C42E}"/>
          </ac:spMkLst>
        </pc:spChg>
        <pc:spChg chg="del">
          <ac:chgData name="Tường SKHĐT" userId="ab9568c39a88b08a" providerId="LiveId" clId="{A0A1AF5B-C8A6-4505-B2BC-7B9D5E4B6587}" dt="2023-06-12T04:50:44.656" v="1719" actId="21"/>
          <ac:spMkLst>
            <pc:docMk/>
            <pc:sldMk cId="520020494" sldId="2147473806"/>
            <ac:spMk id="6" creationId="{9B1EE58E-003F-122B-AAA3-4CD0DC67997A}"/>
          </ac:spMkLst>
        </pc:spChg>
        <pc:graphicFrameChg chg="mod modGraphic">
          <ac:chgData name="Tường SKHĐT" userId="ab9568c39a88b08a" providerId="LiveId" clId="{A0A1AF5B-C8A6-4505-B2BC-7B9D5E4B6587}" dt="2023-06-12T04:51:42.936" v="1731" actId="20577"/>
          <ac:graphicFrameMkLst>
            <pc:docMk/>
            <pc:sldMk cId="520020494" sldId="2147473806"/>
            <ac:graphicFrameMk id="5" creationId="{B5E5335D-2EED-82AF-3A59-FAE8BB94EAE1}"/>
          </ac:graphicFrameMkLst>
        </pc:graphicFrameChg>
      </pc:sldChg>
      <pc:sldChg chg="addSp delSp modSp mod">
        <pc:chgData name="Tường SKHĐT" userId="ab9568c39a88b08a" providerId="LiveId" clId="{A0A1AF5B-C8A6-4505-B2BC-7B9D5E4B6587}" dt="2023-06-12T04:29:45.479" v="577" actId="1076"/>
        <pc:sldMkLst>
          <pc:docMk/>
          <pc:sldMk cId="3832623815" sldId="2147473815"/>
        </pc:sldMkLst>
        <pc:spChg chg="add del mod">
          <ac:chgData name="Tường SKHĐT" userId="ab9568c39a88b08a" providerId="LiveId" clId="{A0A1AF5B-C8A6-4505-B2BC-7B9D5E4B6587}" dt="2023-06-12T04:28:45.857" v="504" actId="21"/>
          <ac:spMkLst>
            <pc:docMk/>
            <pc:sldMk cId="3832623815" sldId="2147473815"/>
            <ac:spMk id="2" creationId="{107DCCA6-9064-8AFE-5A99-768D64A2DF2C}"/>
          </ac:spMkLst>
        </pc:spChg>
        <pc:spChg chg="add mod">
          <ac:chgData name="Tường SKHĐT" userId="ab9568c39a88b08a" providerId="LiveId" clId="{A0A1AF5B-C8A6-4505-B2BC-7B9D5E4B6587}" dt="2023-06-12T04:29:05.840" v="536" actId="14100"/>
          <ac:spMkLst>
            <pc:docMk/>
            <pc:sldMk cId="3832623815" sldId="2147473815"/>
            <ac:spMk id="3" creationId="{5DE338C7-6E53-0F86-ED53-67FC923D06A8}"/>
          </ac:spMkLst>
        </pc:spChg>
        <pc:spChg chg="add mod">
          <ac:chgData name="Tường SKHĐT" userId="ab9568c39a88b08a" providerId="LiveId" clId="{A0A1AF5B-C8A6-4505-B2BC-7B9D5E4B6587}" dt="2023-06-12T04:29:45.479" v="577" actId="1076"/>
          <ac:spMkLst>
            <pc:docMk/>
            <pc:sldMk cId="3832623815" sldId="2147473815"/>
            <ac:spMk id="4" creationId="{82A58F1E-E2AD-B19A-A7E7-6ED94727028A}"/>
          </ac:spMkLst>
        </pc:spChg>
        <pc:spChg chg="del">
          <ac:chgData name="Tường SKHĐT" userId="ab9568c39a88b08a" providerId="LiveId" clId="{A0A1AF5B-C8A6-4505-B2BC-7B9D5E4B6587}" dt="2023-06-12T04:29:21.942" v="570" actId="21"/>
          <ac:spMkLst>
            <pc:docMk/>
            <pc:sldMk cId="3832623815" sldId="2147473815"/>
            <ac:spMk id="7" creationId="{D941B402-27FD-60A3-D08E-FE667B173AB3}"/>
          </ac:spMkLst>
        </pc:spChg>
        <pc:spChg chg="del">
          <ac:chgData name="Tường SKHĐT" userId="ab9568c39a88b08a" providerId="LiveId" clId="{A0A1AF5B-C8A6-4505-B2BC-7B9D5E4B6587}" dt="2023-06-12T04:29:29.811" v="573" actId="21"/>
          <ac:spMkLst>
            <pc:docMk/>
            <pc:sldMk cId="3832623815" sldId="2147473815"/>
            <ac:spMk id="12" creationId="{8A67A444-F448-A9A5-7360-DFFFEB3A5F6E}"/>
          </ac:spMkLst>
        </pc:spChg>
        <pc:spChg chg="del mod">
          <ac:chgData name="Tường SKHĐT" userId="ab9568c39a88b08a" providerId="LiveId" clId="{A0A1AF5B-C8A6-4505-B2BC-7B9D5E4B6587}" dt="2023-06-12T04:29:03.164" v="535" actId="21"/>
          <ac:spMkLst>
            <pc:docMk/>
            <pc:sldMk cId="3832623815" sldId="2147473815"/>
            <ac:spMk id="13" creationId="{D941B402-27FD-60A3-D08E-FE667B173AB3}"/>
          </ac:spMkLst>
        </pc:spChg>
        <pc:graphicFrameChg chg="mod">
          <ac:chgData name="Tường SKHĐT" userId="ab9568c39a88b08a" providerId="LiveId" clId="{A0A1AF5B-C8A6-4505-B2BC-7B9D5E4B6587}" dt="2023-06-12T04:29:41.431" v="576" actId="14100"/>
          <ac:graphicFrameMkLst>
            <pc:docMk/>
            <pc:sldMk cId="3832623815" sldId="2147473815"/>
            <ac:graphicFrameMk id="9" creationId="{0738877F-56EF-4DEF-B5AA-1664DC8186CF}"/>
          </ac:graphicFrameMkLst>
        </pc:graphicFrameChg>
      </pc:sldChg>
      <pc:sldChg chg="addSp delSp modSp mod">
        <pc:chgData name="Tường SKHĐT" userId="ab9568c39a88b08a" providerId="LiveId" clId="{A0A1AF5B-C8A6-4505-B2BC-7B9D5E4B6587}" dt="2023-06-12T07:09:15.857" v="4671" actId="20577"/>
        <pc:sldMkLst>
          <pc:docMk/>
          <pc:sldMk cId="3991450162" sldId="2147473816"/>
        </pc:sldMkLst>
        <pc:spChg chg="add mod">
          <ac:chgData name="Tường SKHĐT" userId="ab9568c39a88b08a" providerId="LiveId" clId="{A0A1AF5B-C8A6-4505-B2BC-7B9D5E4B6587}" dt="2023-06-12T04:30:40.135" v="604" actId="20577"/>
          <ac:spMkLst>
            <pc:docMk/>
            <pc:sldMk cId="3991450162" sldId="2147473816"/>
            <ac:spMk id="2" creationId="{C2DB16E0-DBB0-564F-83B3-7B6656F447DF}"/>
          </ac:spMkLst>
        </pc:spChg>
        <pc:spChg chg="mod">
          <ac:chgData name="Tường SKHĐT" userId="ab9568c39a88b08a" providerId="LiveId" clId="{A0A1AF5B-C8A6-4505-B2BC-7B9D5E4B6587}" dt="2023-06-12T04:32:09.677" v="741" actId="1076"/>
          <ac:spMkLst>
            <pc:docMk/>
            <pc:sldMk cId="3991450162" sldId="2147473816"/>
            <ac:spMk id="4" creationId="{5CDB4122-EC53-12DB-1589-C6E8678CCB1C}"/>
          </ac:spMkLst>
        </pc:spChg>
        <pc:spChg chg="del">
          <ac:chgData name="Tường SKHĐT" userId="ab9568c39a88b08a" providerId="LiveId" clId="{A0A1AF5B-C8A6-4505-B2BC-7B9D5E4B6587}" dt="2023-06-12T04:30:09.663" v="596" actId="21"/>
          <ac:spMkLst>
            <pc:docMk/>
            <pc:sldMk cId="3991450162" sldId="2147473816"/>
            <ac:spMk id="5" creationId="{13C6177D-64B9-5B4D-AA6B-571EB29BED77}"/>
          </ac:spMkLst>
        </pc:spChg>
        <pc:spChg chg="del mod">
          <ac:chgData name="Tường SKHĐT" userId="ab9568c39a88b08a" providerId="LiveId" clId="{A0A1AF5B-C8A6-4505-B2BC-7B9D5E4B6587}" dt="2023-06-12T04:31:37.969" v="736" actId="21"/>
          <ac:spMkLst>
            <pc:docMk/>
            <pc:sldMk cId="3991450162" sldId="2147473816"/>
            <ac:spMk id="6" creationId="{AD8FCB44-5401-4810-551D-B0072A6956BA}"/>
          </ac:spMkLst>
        </pc:spChg>
        <pc:spChg chg="add mod">
          <ac:chgData name="Tường SKHĐT" userId="ab9568c39a88b08a" providerId="LiveId" clId="{A0A1AF5B-C8A6-4505-B2BC-7B9D5E4B6587}" dt="2023-06-12T07:09:15.857" v="4671" actId="20577"/>
          <ac:spMkLst>
            <pc:docMk/>
            <pc:sldMk cId="3991450162" sldId="2147473816"/>
            <ac:spMk id="7" creationId="{2ED23297-15CF-7AEC-0107-698F5A9FF895}"/>
          </ac:spMkLst>
        </pc:spChg>
        <pc:graphicFrameChg chg="mod">
          <ac:chgData name="Tường SKHĐT" userId="ab9568c39a88b08a" providerId="LiveId" clId="{A0A1AF5B-C8A6-4505-B2BC-7B9D5E4B6587}" dt="2023-06-12T04:31:46.143" v="738" actId="1076"/>
          <ac:graphicFrameMkLst>
            <pc:docMk/>
            <pc:sldMk cId="3991450162" sldId="2147473816"/>
            <ac:graphicFrameMk id="3" creationId="{0636A76A-35B9-0329-EF8B-185DBFAD93AA}"/>
          </ac:graphicFrameMkLst>
        </pc:graphicFrameChg>
      </pc:sldChg>
      <pc:sldChg chg="addSp delSp modSp mod">
        <pc:chgData name="Tường SKHĐT" userId="ab9568c39a88b08a" providerId="LiveId" clId="{A0A1AF5B-C8A6-4505-B2BC-7B9D5E4B6587}" dt="2023-06-12T04:32:43.015" v="748" actId="1076"/>
        <pc:sldMkLst>
          <pc:docMk/>
          <pc:sldMk cId="2467822724" sldId="2147473817"/>
        </pc:sldMkLst>
        <pc:spChg chg="add mod">
          <ac:chgData name="Tường SKHĐT" userId="ab9568c39a88b08a" providerId="LiveId" clId="{A0A1AF5B-C8A6-4505-B2BC-7B9D5E4B6587}" dt="2023-06-12T04:32:43.015" v="748" actId="1076"/>
          <ac:spMkLst>
            <pc:docMk/>
            <pc:sldMk cId="2467822724" sldId="2147473817"/>
            <ac:spMk id="2" creationId="{D906555C-3604-49A9-3FD1-FFA453B732A1}"/>
          </ac:spMkLst>
        </pc:spChg>
        <pc:spChg chg="del mod">
          <ac:chgData name="Tường SKHĐT" userId="ab9568c39a88b08a" providerId="LiveId" clId="{A0A1AF5B-C8A6-4505-B2BC-7B9D5E4B6587}" dt="2023-06-12T04:32:40.737" v="747" actId="21"/>
          <ac:spMkLst>
            <pc:docMk/>
            <pc:sldMk cId="2467822724" sldId="2147473817"/>
            <ac:spMk id="4" creationId="{4C480D0D-7409-CDE3-E079-F2C1ED1FACE3}"/>
          </ac:spMkLst>
        </pc:spChg>
      </pc:sldChg>
      <pc:sldChg chg="addSp delSp modSp mod">
        <pc:chgData name="Tường SKHĐT" userId="ab9568c39a88b08a" providerId="LiveId" clId="{A0A1AF5B-C8A6-4505-B2BC-7B9D5E4B6587}" dt="2023-06-12T04:33:24.804" v="759" actId="20577"/>
        <pc:sldMkLst>
          <pc:docMk/>
          <pc:sldMk cId="163795267" sldId="2147473818"/>
        </pc:sldMkLst>
        <pc:spChg chg="mod">
          <ac:chgData name="Tường SKHĐT" userId="ab9568c39a88b08a" providerId="LiveId" clId="{A0A1AF5B-C8A6-4505-B2BC-7B9D5E4B6587}" dt="2023-06-12T04:33:00.081" v="751" actId="1076"/>
          <ac:spMkLst>
            <pc:docMk/>
            <pc:sldMk cId="163795267" sldId="2147473818"/>
            <ac:spMk id="2" creationId="{00000000-0000-0000-0000-000000000000}"/>
          </ac:spMkLst>
        </pc:spChg>
        <pc:spChg chg="add mod">
          <ac:chgData name="Tường SKHĐT" userId="ab9568c39a88b08a" providerId="LiveId" clId="{A0A1AF5B-C8A6-4505-B2BC-7B9D5E4B6587}" dt="2023-06-12T04:33:24.804" v="759" actId="20577"/>
          <ac:spMkLst>
            <pc:docMk/>
            <pc:sldMk cId="163795267" sldId="2147473818"/>
            <ac:spMk id="3" creationId="{98B36CA8-0466-6E21-63C6-933CF348F495}"/>
          </ac:spMkLst>
        </pc:spChg>
        <pc:spChg chg="del">
          <ac:chgData name="Tường SKHĐT" userId="ab9568c39a88b08a" providerId="LiveId" clId="{A0A1AF5B-C8A6-4505-B2BC-7B9D5E4B6587}" dt="2023-06-12T04:33:20.086" v="756" actId="21"/>
          <ac:spMkLst>
            <pc:docMk/>
            <pc:sldMk cId="163795267" sldId="2147473818"/>
            <ac:spMk id="4" creationId="{5DDFB1B9-9FA7-5CF0-AB22-DCB06431AEA4}"/>
          </ac:spMkLst>
        </pc:spChg>
      </pc:sldChg>
      <pc:sldChg chg="addSp delSp modSp mod">
        <pc:chgData name="Tường SKHĐT" userId="ab9568c39a88b08a" providerId="LiveId" clId="{A0A1AF5B-C8A6-4505-B2BC-7B9D5E4B6587}" dt="2023-06-12T04:34:25.179" v="778" actId="1076"/>
        <pc:sldMkLst>
          <pc:docMk/>
          <pc:sldMk cId="1689242850" sldId="2147473819"/>
        </pc:sldMkLst>
        <pc:spChg chg="add mod">
          <ac:chgData name="Tường SKHĐT" userId="ab9568c39a88b08a" providerId="LiveId" clId="{A0A1AF5B-C8A6-4505-B2BC-7B9D5E4B6587}" dt="2023-06-12T04:34:25.179" v="778" actId="1076"/>
          <ac:spMkLst>
            <pc:docMk/>
            <pc:sldMk cId="1689242850" sldId="2147473819"/>
            <ac:spMk id="3" creationId="{9C4B6EDD-2FF8-1579-A98A-96F6002EC4FF}"/>
          </ac:spMkLst>
        </pc:spChg>
        <pc:spChg chg="mod">
          <ac:chgData name="Tường SKHĐT" userId="ab9568c39a88b08a" providerId="LiveId" clId="{A0A1AF5B-C8A6-4505-B2BC-7B9D5E4B6587}" dt="2023-06-12T04:33:57.787" v="768" actId="1076"/>
          <ac:spMkLst>
            <pc:docMk/>
            <pc:sldMk cId="1689242850" sldId="2147473819"/>
            <ac:spMk id="6" creationId="{06D03D79-0B62-8633-2463-3F508B07C798}"/>
          </ac:spMkLst>
        </pc:spChg>
        <pc:spChg chg="mod">
          <ac:chgData name="Tường SKHĐT" userId="ab9568c39a88b08a" providerId="LiveId" clId="{A0A1AF5B-C8A6-4505-B2BC-7B9D5E4B6587}" dt="2023-06-12T04:34:10.899" v="774" actId="1076"/>
          <ac:spMkLst>
            <pc:docMk/>
            <pc:sldMk cId="1689242850" sldId="2147473819"/>
            <ac:spMk id="7" creationId="{E6639C72-69F2-1AB3-FDD1-BBD1532EF732}"/>
          </ac:spMkLst>
        </pc:spChg>
        <pc:spChg chg="del mod">
          <ac:chgData name="Tường SKHĐT" userId="ab9568c39a88b08a" providerId="LiveId" clId="{A0A1AF5B-C8A6-4505-B2BC-7B9D5E4B6587}" dt="2023-06-12T04:33:51.501" v="766" actId="21"/>
          <ac:spMkLst>
            <pc:docMk/>
            <pc:sldMk cId="1689242850" sldId="2147473819"/>
            <ac:spMk id="10" creationId="{99B4B44D-D9C2-C082-591B-8A4A5C18BE6A}"/>
          </ac:spMkLst>
        </pc:spChg>
        <pc:graphicFrameChg chg="mod">
          <ac:chgData name="Tường SKHĐT" userId="ab9568c39a88b08a" providerId="LiveId" clId="{A0A1AF5B-C8A6-4505-B2BC-7B9D5E4B6587}" dt="2023-06-12T04:34:21.593" v="777" actId="14100"/>
          <ac:graphicFrameMkLst>
            <pc:docMk/>
            <pc:sldMk cId="1689242850" sldId="2147473819"/>
            <ac:graphicFrameMk id="2" creationId="{346F163C-66BC-C7A6-BB15-9C16C1787CC5}"/>
          </ac:graphicFrameMkLst>
        </pc:graphicFrameChg>
        <pc:graphicFrameChg chg="mod">
          <ac:chgData name="Tường SKHĐT" userId="ab9568c39a88b08a" providerId="LiveId" clId="{A0A1AF5B-C8A6-4505-B2BC-7B9D5E4B6587}" dt="2023-06-12T04:34:07.816" v="773" actId="14100"/>
          <ac:graphicFrameMkLst>
            <pc:docMk/>
            <pc:sldMk cId="1689242850" sldId="2147473819"/>
            <ac:graphicFrameMk id="5" creationId="{75A55BE3-D598-1BB1-2774-416D11B1FB7C}"/>
          </ac:graphicFrameMkLst>
        </pc:graphicFrameChg>
      </pc:sldChg>
      <pc:sldChg chg="addSp delSp modSp mod">
        <pc:chgData name="Tường SKHĐT" userId="ab9568c39a88b08a" providerId="LiveId" clId="{A0A1AF5B-C8A6-4505-B2BC-7B9D5E4B6587}" dt="2023-06-12T04:42:12.901" v="1214" actId="404"/>
        <pc:sldMkLst>
          <pc:docMk/>
          <pc:sldMk cId="4102523892" sldId="2147473820"/>
        </pc:sldMkLst>
        <pc:spChg chg="add mod">
          <ac:chgData name="Tường SKHĐT" userId="ab9568c39a88b08a" providerId="LiveId" clId="{A0A1AF5B-C8A6-4505-B2BC-7B9D5E4B6587}" dt="2023-06-12T04:41:39.553" v="1171" actId="1076"/>
          <ac:spMkLst>
            <pc:docMk/>
            <pc:sldMk cId="4102523892" sldId="2147473820"/>
            <ac:spMk id="2" creationId="{C319B6E8-E0FA-42B9-2B2A-B247DE1D39DA}"/>
          </ac:spMkLst>
        </pc:spChg>
        <pc:spChg chg="add mod">
          <ac:chgData name="Tường SKHĐT" userId="ab9568c39a88b08a" providerId="LiveId" clId="{A0A1AF5B-C8A6-4505-B2BC-7B9D5E4B6587}" dt="2023-06-12T04:41:52.071" v="1174"/>
          <ac:spMkLst>
            <pc:docMk/>
            <pc:sldMk cId="4102523892" sldId="2147473820"/>
            <ac:spMk id="3" creationId="{8994FA03-C0F5-3BAB-63E2-5070725B45A7}"/>
          </ac:spMkLst>
        </pc:spChg>
        <pc:spChg chg="add mod">
          <ac:chgData name="Tường SKHĐT" userId="ab9568c39a88b08a" providerId="LiveId" clId="{A0A1AF5B-C8A6-4505-B2BC-7B9D5E4B6587}" dt="2023-06-12T04:42:12.901" v="1214" actId="404"/>
          <ac:spMkLst>
            <pc:docMk/>
            <pc:sldMk cId="4102523892" sldId="2147473820"/>
            <ac:spMk id="5" creationId="{F39EB991-F16B-C0CE-8C81-5C98F9C72AAB}"/>
          </ac:spMkLst>
        </pc:spChg>
        <pc:spChg chg="del">
          <ac:chgData name="Tường SKHĐT" userId="ab9568c39a88b08a" providerId="LiveId" clId="{A0A1AF5B-C8A6-4505-B2BC-7B9D5E4B6587}" dt="2023-06-12T04:41:33.995" v="1167" actId="21"/>
          <ac:spMkLst>
            <pc:docMk/>
            <pc:sldMk cId="4102523892" sldId="2147473820"/>
            <ac:spMk id="7" creationId="{D941B402-27FD-60A3-D08E-FE667B173AB3}"/>
          </ac:spMkLst>
        </pc:spChg>
        <pc:spChg chg="mod">
          <ac:chgData name="Tường SKHĐT" userId="ab9568c39a88b08a" providerId="LiveId" clId="{A0A1AF5B-C8A6-4505-B2BC-7B9D5E4B6587}" dt="2023-06-12T04:41:50.295" v="1173" actId="14100"/>
          <ac:spMkLst>
            <pc:docMk/>
            <pc:sldMk cId="4102523892" sldId="2147473820"/>
            <ac:spMk id="8" creationId="{00000000-0000-0000-0000-000000000000}"/>
          </ac:spMkLst>
        </pc:spChg>
        <pc:spChg chg="del mod">
          <ac:chgData name="Tường SKHĐT" userId="ab9568c39a88b08a" providerId="LiveId" clId="{A0A1AF5B-C8A6-4505-B2BC-7B9D5E4B6587}" dt="2023-06-12T04:41:57.943" v="1175" actId="21"/>
          <ac:spMkLst>
            <pc:docMk/>
            <pc:sldMk cId="4102523892" sldId="2147473820"/>
            <ac:spMk id="9" creationId="{D941B402-27FD-60A3-D08E-FE667B173AB3}"/>
          </ac:spMkLst>
        </pc:spChg>
      </pc:sldChg>
      <pc:sldChg chg="del">
        <pc:chgData name="Tường SKHĐT" userId="ab9568c39a88b08a" providerId="LiveId" clId="{A0A1AF5B-C8A6-4505-B2BC-7B9D5E4B6587}" dt="2023-06-12T04:37:30.390" v="1011" actId="2696"/>
        <pc:sldMkLst>
          <pc:docMk/>
          <pc:sldMk cId="18840407" sldId="2147473822"/>
        </pc:sldMkLst>
      </pc:sldChg>
      <pc:sldChg chg="modSp mod">
        <pc:chgData name="Tường SKHĐT" userId="ab9568c39a88b08a" providerId="LiveId" clId="{A0A1AF5B-C8A6-4505-B2BC-7B9D5E4B6587}" dt="2023-06-12T04:40:53.574" v="1058" actId="1035"/>
        <pc:sldMkLst>
          <pc:docMk/>
          <pc:sldMk cId="1767965964" sldId="2147473823"/>
        </pc:sldMkLst>
        <pc:spChg chg="mod">
          <ac:chgData name="Tường SKHĐT" userId="ab9568c39a88b08a" providerId="LiveId" clId="{A0A1AF5B-C8A6-4505-B2BC-7B9D5E4B6587}" dt="2023-06-12T04:38:09.642" v="1019" actId="1076"/>
          <ac:spMkLst>
            <pc:docMk/>
            <pc:sldMk cId="1767965964" sldId="2147473823"/>
            <ac:spMk id="3" creationId="{9363D8CF-2C85-3BF9-B7BB-9B85B15F2F06}"/>
          </ac:spMkLst>
        </pc:spChg>
        <pc:graphicFrameChg chg="mod">
          <ac:chgData name="Tường SKHĐT" userId="ab9568c39a88b08a" providerId="LiveId" clId="{A0A1AF5B-C8A6-4505-B2BC-7B9D5E4B6587}" dt="2023-06-12T04:40:53.574" v="1058" actId="1035"/>
          <ac:graphicFrameMkLst>
            <pc:docMk/>
            <pc:sldMk cId="1767965964" sldId="2147473823"/>
            <ac:graphicFrameMk id="4" creationId="{CB125874-AF46-08B5-FA85-D0900844E51C}"/>
          </ac:graphicFrameMkLst>
        </pc:graphicFrameChg>
      </pc:sldChg>
      <pc:sldChg chg="modSp mod">
        <pc:chgData name="Tường SKHĐT" userId="ab9568c39a88b08a" providerId="LiveId" clId="{A0A1AF5B-C8A6-4505-B2BC-7B9D5E4B6587}" dt="2023-06-12T04:40:47.991" v="1056" actId="1035"/>
        <pc:sldMkLst>
          <pc:docMk/>
          <pc:sldMk cId="82429981" sldId="2147473824"/>
        </pc:sldMkLst>
        <pc:spChg chg="mod">
          <ac:chgData name="Tường SKHĐT" userId="ab9568c39a88b08a" providerId="LiveId" clId="{A0A1AF5B-C8A6-4505-B2BC-7B9D5E4B6587}" dt="2023-06-12T04:37:56.658" v="1016" actId="14100"/>
          <ac:spMkLst>
            <pc:docMk/>
            <pc:sldMk cId="82429981" sldId="2147473824"/>
            <ac:spMk id="3" creationId="{9363D8CF-2C85-3BF9-B7BB-9B85B15F2F06}"/>
          </ac:spMkLst>
        </pc:spChg>
        <pc:graphicFrameChg chg="mod modGraphic">
          <ac:chgData name="Tường SKHĐT" userId="ab9568c39a88b08a" providerId="LiveId" clId="{A0A1AF5B-C8A6-4505-B2BC-7B9D5E4B6587}" dt="2023-06-12T04:40:47.991" v="1056" actId="1035"/>
          <ac:graphicFrameMkLst>
            <pc:docMk/>
            <pc:sldMk cId="82429981" sldId="2147473824"/>
            <ac:graphicFrameMk id="4" creationId="{00000000-0000-0000-0000-000000000000}"/>
          </ac:graphicFrameMkLst>
        </pc:graphicFrameChg>
      </pc:sldChg>
      <pc:sldChg chg="modSp mod">
        <pc:chgData name="Tường SKHĐT" userId="ab9568c39a88b08a" providerId="LiveId" clId="{A0A1AF5B-C8A6-4505-B2BC-7B9D5E4B6587}" dt="2023-06-12T04:38:37.113" v="1025" actId="1076"/>
        <pc:sldMkLst>
          <pc:docMk/>
          <pc:sldMk cId="3237175372" sldId="2147473825"/>
        </pc:sldMkLst>
        <pc:spChg chg="mod">
          <ac:chgData name="Tường SKHĐT" userId="ab9568c39a88b08a" providerId="LiveId" clId="{A0A1AF5B-C8A6-4505-B2BC-7B9D5E4B6587}" dt="2023-06-12T04:38:37.113" v="1025" actId="1076"/>
          <ac:spMkLst>
            <pc:docMk/>
            <pc:sldMk cId="3237175372" sldId="2147473825"/>
            <ac:spMk id="3" creationId="{9363D8CF-2C85-3BF9-B7BB-9B85B15F2F06}"/>
          </ac:spMkLst>
        </pc:spChg>
      </pc:sldChg>
      <pc:sldChg chg="modSp mod">
        <pc:chgData name="Tường SKHĐT" userId="ab9568c39a88b08a" providerId="LiveId" clId="{A0A1AF5B-C8A6-4505-B2BC-7B9D5E4B6587}" dt="2023-06-12T04:38:43.931" v="1027" actId="1076"/>
        <pc:sldMkLst>
          <pc:docMk/>
          <pc:sldMk cId="3666924150" sldId="2147473826"/>
        </pc:sldMkLst>
        <pc:spChg chg="mod">
          <ac:chgData name="Tường SKHĐT" userId="ab9568c39a88b08a" providerId="LiveId" clId="{A0A1AF5B-C8A6-4505-B2BC-7B9D5E4B6587}" dt="2023-06-12T04:38:43.931" v="1027" actId="1076"/>
          <ac:spMkLst>
            <pc:docMk/>
            <pc:sldMk cId="3666924150" sldId="2147473826"/>
            <ac:spMk id="3" creationId="{9363D8CF-2C85-3BF9-B7BB-9B85B15F2F06}"/>
          </ac:spMkLst>
        </pc:spChg>
      </pc:sldChg>
      <pc:sldChg chg="modSp mod">
        <pc:chgData name="Tường SKHĐT" userId="ab9568c39a88b08a" providerId="LiveId" clId="{A0A1AF5B-C8A6-4505-B2BC-7B9D5E4B6587}" dt="2023-06-12T04:38:49.809" v="1029" actId="1076"/>
        <pc:sldMkLst>
          <pc:docMk/>
          <pc:sldMk cId="3378507048" sldId="2147473827"/>
        </pc:sldMkLst>
        <pc:spChg chg="mod">
          <ac:chgData name="Tường SKHĐT" userId="ab9568c39a88b08a" providerId="LiveId" clId="{A0A1AF5B-C8A6-4505-B2BC-7B9D5E4B6587}" dt="2023-06-12T04:38:49.809" v="1029" actId="1076"/>
          <ac:spMkLst>
            <pc:docMk/>
            <pc:sldMk cId="3378507048" sldId="2147473827"/>
            <ac:spMk id="3" creationId="{9363D8CF-2C85-3BF9-B7BB-9B85B15F2F06}"/>
          </ac:spMkLst>
        </pc:spChg>
      </pc:sldChg>
      <pc:sldChg chg="modSp mod">
        <pc:chgData name="Tường SKHĐT" userId="ab9568c39a88b08a" providerId="LiveId" clId="{A0A1AF5B-C8A6-4505-B2BC-7B9D5E4B6587}" dt="2023-06-12T04:38:56.543" v="1032" actId="1036"/>
        <pc:sldMkLst>
          <pc:docMk/>
          <pc:sldMk cId="1987475464" sldId="2147473828"/>
        </pc:sldMkLst>
        <pc:spChg chg="mod">
          <ac:chgData name="Tường SKHĐT" userId="ab9568c39a88b08a" providerId="LiveId" clId="{A0A1AF5B-C8A6-4505-B2BC-7B9D5E4B6587}" dt="2023-06-12T04:38:56.543" v="1032" actId="1036"/>
          <ac:spMkLst>
            <pc:docMk/>
            <pc:sldMk cId="1987475464" sldId="2147473828"/>
            <ac:spMk id="3" creationId="{9363D8CF-2C85-3BF9-B7BB-9B85B15F2F06}"/>
          </ac:spMkLst>
        </pc:spChg>
      </pc:sldChg>
      <pc:sldChg chg="modSp mod">
        <pc:chgData name="Tường SKHĐT" userId="ab9568c39a88b08a" providerId="LiveId" clId="{A0A1AF5B-C8A6-4505-B2BC-7B9D5E4B6587}" dt="2023-06-12T04:39:02.991" v="1034" actId="1076"/>
        <pc:sldMkLst>
          <pc:docMk/>
          <pc:sldMk cId="2259173848" sldId="2147473829"/>
        </pc:sldMkLst>
        <pc:spChg chg="mod">
          <ac:chgData name="Tường SKHĐT" userId="ab9568c39a88b08a" providerId="LiveId" clId="{A0A1AF5B-C8A6-4505-B2BC-7B9D5E4B6587}" dt="2023-06-12T04:39:02.991" v="1034" actId="1076"/>
          <ac:spMkLst>
            <pc:docMk/>
            <pc:sldMk cId="2259173848" sldId="2147473829"/>
            <ac:spMk id="3" creationId="{9363D8CF-2C85-3BF9-B7BB-9B85B15F2F06}"/>
          </ac:spMkLst>
        </pc:spChg>
      </pc:sldChg>
      <pc:sldChg chg="modSp mod">
        <pc:chgData name="Tường SKHĐT" userId="ab9568c39a88b08a" providerId="LiveId" clId="{A0A1AF5B-C8A6-4505-B2BC-7B9D5E4B6587}" dt="2023-06-12T04:39:11.497" v="1036" actId="1076"/>
        <pc:sldMkLst>
          <pc:docMk/>
          <pc:sldMk cId="1422668918" sldId="2147473830"/>
        </pc:sldMkLst>
        <pc:spChg chg="mod">
          <ac:chgData name="Tường SKHĐT" userId="ab9568c39a88b08a" providerId="LiveId" clId="{A0A1AF5B-C8A6-4505-B2BC-7B9D5E4B6587}" dt="2023-06-12T04:39:11.497" v="1036" actId="1076"/>
          <ac:spMkLst>
            <pc:docMk/>
            <pc:sldMk cId="1422668918" sldId="2147473830"/>
            <ac:spMk id="5" creationId="{9CBC7A17-9F40-F9E2-3D14-0D173740B2FD}"/>
          </ac:spMkLst>
        </pc:spChg>
      </pc:sldChg>
      <pc:sldChg chg="modSp mod">
        <pc:chgData name="Tường SKHĐT" userId="ab9568c39a88b08a" providerId="LiveId" clId="{A0A1AF5B-C8A6-4505-B2BC-7B9D5E4B6587}" dt="2023-06-12T04:39:18.895" v="1038" actId="1076"/>
        <pc:sldMkLst>
          <pc:docMk/>
          <pc:sldMk cId="2950065476" sldId="2147473831"/>
        </pc:sldMkLst>
        <pc:spChg chg="mod">
          <ac:chgData name="Tường SKHĐT" userId="ab9568c39a88b08a" providerId="LiveId" clId="{A0A1AF5B-C8A6-4505-B2BC-7B9D5E4B6587}" dt="2023-06-12T04:39:18.895" v="1038" actId="1076"/>
          <ac:spMkLst>
            <pc:docMk/>
            <pc:sldMk cId="2950065476" sldId="2147473831"/>
            <ac:spMk id="5" creationId="{9CBC7A17-9F40-F9E2-3D14-0D173740B2FD}"/>
          </ac:spMkLst>
        </pc:spChg>
      </pc:sldChg>
      <pc:sldChg chg="modSp mod">
        <pc:chgData name="Tường SKHĐT" userId="ab9568c39a88b08a" providerId="LiveId" clId="{A0A1AF5B-C8A6-4505-B2BC-7B9D5E4B6587}" dt="2023-06-12T04:39:27.205" v="1040" actId="1076"/>
        <pc:sldMkLst>
          <pc:docMk/>
          <pc:sldMk cId="2241968007" sldId="2147473832"/>
        </pc:sldMkLst>
        <pc:spChg chg="mod">
          <ac:chgData name="Tường SKHĐT" userId="ab9568c39a88b08a" providerId="LiveId" clId="{A0A1AF5B-C8A6-4505-B2BC-7B9D5E4B6587}" dt="2023-06-12T04:39:27.205" v="1040" actId="1076"/>
          <ac:spMkLst>
            <pc:docMk/>
            <pc:sldMk cId="2241968007" sldId="2147473832"/>
            <ac:spMk id="5" creationId="{9CBC7A17-9F40-F9E2-3D14-0D173740B2FD}"/>
          </ac:spMkLst>
        </pc:spChg>
      </pc:sldChg>
      <pc:sldChg chg="del">
        <pc:chgData name="Tường SKHĐT" userId="ab9568c39a88b08a" providerId="LiveId" clId="{A0A1AF5B-C8A6-4505-B2BC-7B9D5E4B6587}" dt="2023-06-12T05:02:57.470" v="1957" actId="2696"/>
        <pc:sldMkLst>
          <pc:docMk/>
          <pc:sldMk cId="2334035086" sldId="2147473833"/>
        </pc:sldMkLst>
      </pc:sldChg>
      <pc:sldChg chg="del">
        <pc:chgData name="Tường SKHĐT" userId="ab9568c39a88b08a" providerId="LiveId" clId="{A0A1AF5B-C8A6-4505-B2BC-7B9D5E4B6587}" dt="2023-06-12T05:01:13.628" v="1952" actId="2696"/>
        <pc:sldMkLst>
          <pc:docMk/>
          <pc:sldMk cId="2211954795" sldId="2147473834"/>
        </pc:sldMkLst>
      </pc:sldChg>
      <pc:sldChg chg="del">
        <pc:chgData name="Tường SKHĐT" userId="ab9568c39a88b08a" providerId="LiveId" clId="{A0A1AF5B-C8A6-4505-B2BC-7B9D5E4B6587}" dt="2023-06-12T05:01:06.166" v="1951" actId="2696"/>
        <pc:sldMkLst>
          <pc:docMk/>
          <pc:sldMk cId="659536973" sldId="2147473835"/>
        </pc:sldMkLst>
      </pc:sldChg>
      <pc:sldChg chg="del">
        <pc:chgData name="Tường SKHĐT" userId="ab9568c39a88b08a" providerId="LiveId" clId="{A0A1AF5B-C8A6-4505-B2BC-7B9D5E4B6587}" dt="2023-06-12T05:03:21.775" v="1959" actId="2696"/>
        <pc:sldMkLst>
          <pc:docMk/>
          <pc:sldMk cId="410634667" sldId="2147473836"/>
        </pc:sldMkLst>
      </pc:sldChg>
      <pc:sldChg chg="addSp delSp modSp mod">
        <pc:chgData name="Tường SKHĐT" userId="ab9568c39a88b08a" providerId="LiveId" clId="{A0A1AF5B-C8A6-4505-B2BC-7B9D5E4B6587}" dt="2023-06-12T05:50:19.653" v="4667" actId="20577"/>
        <pc:sldMkLst>
          <pc:docMk/>
          <pc:sldMk cId="238100601" sldId="2147473837"/>
        </pc:sldMkLst>
        <pc:spChg chg="add mod">
          <ac:chgData name="Tường SKHĐT" userId="ab9568c39a88b08a" providerId="LiveId" clId="{A0A1AF5B-C8A6-4505-B2BC-7B9D5E4B6587}" dt="2023-06-12T05:10:36.076" v="2352" actId="20577"/>
          <ac:spMkLst>
            <pc:docMk/>
            <pc:sldMk cId="238100601" sldId="2147473837"/>
            <ac:spMk id="2" creationId="{34358AFD-CA30-69B4-CBC4-1549EB01D84B}"/>
          </ac:spMkLst>
        </pc:spChg>
        <pc:spChg chg="del mod">
          <ac:chgData name="Tường SKHĐT" userId="ab9568c39a88b08a" providerId="LiveId" clId="{A0A1AF5B-C8A6-4505-B2BC-7B9D5E4B6587}" dt="2023-06-12T05:09:30.074" v="2262" actId="21"/>
          <ac:spMkLst>
            <pc:docMk/>
            <pc:sldMk cId="238100601" sldId="2147473837"/>
            <ac:spMk id="7" creationId="{6CE3C172-6B73-81D2-B734-810C1C811D2E}"/>
          </ac:spMkLst>
        </pc:spChg>
        <pc:graphicFrameChg chg="mod modGraphic">
          <ac:chgData name="Tường SKHĐT" userId="ab9568c39a88b08a" providerId="LiveId" clId="{A0A1AF5B-C8A6-4505-B2BC-7B9D5E4B6587}" dt="2023-06-12T05:50:19.653" v="4667" actId="20577"/>
          <ac:graphicFrameMkLst>
            <pc:docMk/>
            <pc:sldMk cId="238100601" sldId="2147473837"/>
            <ac:graphicFrameMk id="8" creationId="{B5E5335D-2EED-82AF-3A59-FAE8BB94EAE1}"/>
          </ac:graphicFrameMkLst>
        </pc:graphicFrameChg>
        <pc:picChg chg="del">
          <ac:chgData name="Tường SKHĐT" userId="ab9568c39a88b08a" providerId="LiveId" clId="{A0A1AF5B-C8A6-4505-B2BC-7B9D5E4B6587}" dt="2023-06-12T05:08:53.793" v="2145" actId="21"/>
          <ac:picMkLst>
            <pc:docMk/>
            <pc:sldMk cId="238100601" sldId="2147473837"/>
            <ac:picMk id="4" creationId="{5045E7A8-8A58-D06A-A74A-C57274D706D5}"/>
          </ac:picMkLst>
        </pc:picChg>
        <pc:picChg chg="del">
          <ac:chgData name="Tường SKHĐT" userId="ab9568c39a88b08a" providerId="LiveId" clId="{A0A1AF5B-C8A6-4505-B2BC-7B9D5E4B6587}" dt="2023-06-12T05:08:51.768" v="2144" actId="21"/>
          <ac:picMkLst>
            <pc:docMk/>
            <pc:sldMk cId="238100601" sldId="2147473837"/>
            <ac:picMk id="9" creationId="{CDC37B83-E538-7BDA-9A1E-E09DCFF78A2D}"/>
          </ac:picMkLst>
        </pc:picChg>
      </pc:sldChg>
      <pc:sldChg chg="addSp delSp modSp add mod">
        <pc:chgData name="Tường SKHĐT" userId="ab9568c39a88b08a" providerId="LiveId" clId="{A0A1AF5B-C8A6-4505-B2BC-7B9D5E4B6587}" dt="2023-06-12T04:09:24.647" v="474" actId="1076"/>
        <pc:sldMkLst>
          <pc:docMk/>
          <pc:sldMk cId="1957643202" sldId="2147473838"/>
        </pc:sldMkLst>
        <pc:graphicFrameChg chg="del">
          <ac:chgData name="Tường SKHĐT" userId="ab9568c39a88b08a" providerId="LiveId" clId="{A0A1AF5B-C8A6-4505-B2BC-7B9D5E4B6587}" dt="2023-06-12T04:08:21.441" v="470" actId="21"/>
          <ac:graphicFrameMkLst>
            <pc:docMk/>
            <pc:sldMk cId="1957643202" sldId="2147473838"/>
            <ac:graphicFrameMk id="2" creationId="{B201EF2D-75E3-E0B8-AAC8-39EE3D1AD94A}"/>
          </ac:graphicFrameMkLst>
        </pc:graphicFrameChg>
        <pc:graphicFrameChg chg="add del mod">
          <ac:chgData name="Tường SKHĐT" userId="ab9568c39a88b08a" providerId="LiveId" clId="{A0A1AF5B-C8A6-4505-B2BC-7B9D5E4B6587}" dt="2023-06-12T04:09:02.826" v="473" actId="21"/>
          <ac:graphicFrameMkLst>
            <pc:docMk/>
            <pc:sldMk cId="1957643202" sldId="2147473838"/>
            <ac:graphicFrameMk id="6" creationId="{FBDCEFAF-F452-9D4C-50A8-CA0F6B86898F}"/>
          </ac:graphicFrameMkLst>
        </pc:graphicFrameChg>
        <pc:graphicFrameChg chg="mod">
          <ac:chgData name="Tường SKHĐT" userId="ab9568c39a88b08a" providerId="LiveId" clId="{A0A1AF5B-C8A6-4505-B2BC-7B9D5E4B6587}" dt="2023-06-12T04:09:24.647" v="474" actId="1076"/>
          <ac:graphicFrameMkLst>
            <pc:docMk/>
            <pc:sldMk cId="1957643202" sldId="2147473838"/>
            <ac:graphicFrameMk id="7" creationId="{65ED0CA7-264C-1318-BA20-73CF6FF0B39F}"/>
          </ac:graphicFrameMkLst>
        </pc:graphicFrameChg>
      </pc:sldChg>
      <pc:sldChg chg="addSp delSp modSp add mod">
        <pc:chgData name="Tường SKHĐT" userId="ab9568c39a88b08a" providerId="LiveId" clId="{A0A1AF5B-C8A6-4505-B2BC-7B9D5E4B6587}" dt="2023-06-12T05:15:56.547" v="2635" actId="1076"/>
        <pc:sldMkLst>
          <pc:docMk/>
          <pc:sldMk cId="3752301376" sldId="2147473839"/>
        </pc:sldMkLst>
        <pc:spChg chg="del">
          <ac:chgData name="Tường SKHĐT" userId="ab9568c39a88b08a" providerId="LiveId" clId="{A0A1AF5B-C8A6-4505-B2BC-7B9D5E4B6587}" dt="2023-06-12T04:09:47.795" v="478" actId="21"/>
          <ac:spMkLst>
            <pc:docMk/>
            <pc:sldMk cId="3752301376" sldId="2147473839"/>
            <ac:spMk id="3" creationId="{41F7B89A-950B-BCEA-7B34-24C31F06EEAE}"/>
          </ac:spMkLst>
        </pc:spChg>
        <pc:spChg chg="del">
          <ac:chgData name="Tường SKHĐT" userId="ab9568c39a88b08a" providerId="LiveId" clId="{A0A1AF5B-C8A6-4505-B2BC-7B9D5E4B6587}" dt="2023-06-12T04:09:45.644" v="477" actId="21"/>
          <ac:spMkLst>
            <pc:docMk/>
            <pc:sldMk cId="3752301376" sldId="2147473839"/>
            <ac:spMk id="4" creationId="{F2F47907-BFA6-9C9C-7410-0773243570E0}"/>
          </ac:spMkLst>
        </pc:spChg>
        <pc:spChg chg="mod">
          <ac:chgData name="Tường SKHĐT" userId="ab9568c39a88b08a" providerId="LiveId" clId="{A0A1AF5B-C8A6-4505-B2BC-7B9D5E4B6587}" dt="2023-06-12T04:09:56.762" v="487" actId="14100"/>
          <ac:spMkLst>
            <pc:docMk/>
            <pc:sldMk cId="3752301376" sldId="2147473839"/>
            <ac:spMk id="5" creationId="{85B0C6AB-4906-5932-12D4-5FAF7DC72C97}"/>
          </ac:spMkLst>
        </pc:spChg>
        <pc:graphicFrameChg chg="add del mod">
          <ac:chgData name="Tường SKHĐT" userId="ab9568c39a88b08a" providerId="LiveId" clId="{A0A1AF5B-C8A6-4505-B2BC-7B9D5E4B6587}" dt="2023-06-12T04:16:37.696" v="496" actId="21"/>
          <ac:graphicFrameMkLst>
            <pc:docMk/>
            <pc:sldMk cId="3752301376" sldId="2147473839"/>
            <ac:graphicFrameMk id="2" creationId="{C62D83C6-D01B-3A81-71E9-11F32E9A2436}"/>
          </ac:graphicFrameMkLst>
        </pc:graphicFrameChg>
        <pc:graphicFrameChg chg="del mod">
          <ac:chgData name="Tường SKHĐT" userId="ab9568c39a88b08a" providerId="LiveId" clId="{A0A1AF5B-C8A6-4505-B2BC-7B9D5E4B6587}" dt="2023-06-12T04:25:42.297" v="499" actId="21"/>
          <ac:graphicFrameMkLst>
            <pc:docMk/>
            <pc:sldMk cId="3752301376" sldId="2147473839"/>
            <ac:graphicFrameMk id="6" creationId="{A822073D-0E0A-4EAC-B357-5495BCC97593}"/>
          </ac:graphicFrameMkLst>
        </pc:graphicFrameChg>
        <pc:graphicFrameChg chg="del">
          <ac:chgData name="Tường SKHĐT" userId="ab9568c39a88b08a" providerId="LiveId" clId="{A0A1AF5B-C8A6-4505-B2BC-7B9D5E4B6587}" dt="2023-06-12T04:09:58.161" v="488" actId="21"/>
          <ac:graphicFrameMkLst>
            <pc:docMk/>
            <pc:sldMk cId="3752301376" sldId="2147473839"/>
            <ac:graphicFrameMk id="7" creationId="{65ED0CA7-264C-1318-BA20-73CF6FF0B39F}"/>
          </ac:graphicFrameMkLst>
        </pc:graphicFrameChg>
        <pc:graphicFrameChg chg="del mod">
          <ac:chgData name="Tường SKHĐT" userId="ab9568c39a88b08a" providerId="LiveId" clId="{A0A1AF5B-C8A6-4505-B2BC-7B9D5E4B6587}" dt="2023-06-12T05:15:47.132" v="2634" actId="21"/>
          <ac:graphicFrameMkLst>
            <pc:docMk/>
            <pc:sldMk cId="3752301376" sldId="2147473839"/>
            <ac:graphicFrameMk id="9" creationId="{2F9C6FA6-A516-1F70-1D36-D4002BC85003}"/>
          </ac:graphicFrameMkLst>
        </pc:graphicFrameChg>
        <pc:graphicFrameChg chg="mod">
          <ac:chgData name="Tường SKHĐT" userId="ab9568c39a88b08a" providerId="LiveId" clId="{A0A1AF5B-C8A6-4505-B2BC-7B9D5E4B6587}" dt="2023-06-12T05:15:56.547" v="2635" actId="1076"/>
          <ac:graphicFrameMkLst>
            <pc:docMk/>
            <pc:sldMk cId="3752301376" sldId="2147473839"/>
            <ac:graphicFrameMk id="10" creationId="{78AE96A3-F446-AF0B-29D6-B0D7C99FFBCC}"/>
          </ac:graphicFrameMkLst>
        </pc:graphicFrameChg>
      </pc:sldChg>
      <pc:sldChg chg="addSp delSp modSp add del mod">
        <pc:chgData name="Tường SKHĐT" userId="ab9568c39a88b08a" providerId="LiveId" clId="{A0A1AF5B-C8A6-4505-B2BC-7B9D5E4B6587}" dt="2023-06-12T07:08:07.674" v="4670" actId="2696"/>
        <pc:sldMkLst>
          <pc:docMk/>
          <pc:sldMk cId="6835708" sldId="2147473840"/>
        </pc:sldMkLst>
        <pc:spChg chg="mod">
          <ac:chgData name="Tường SKHĐT" userId="ab9568c39a88b08a" providerId="LiveId" clId="{A0A1AF5B-C8A6-4505-B2BC-7B9D5E4B6587}" dt="2023-06-12T04:28:38.071" v="503" actId="1076"/>
          <ac:spMkLst>
            <pc:docMk/>
            <pc:sldMk cId="6835708" sldId="2147473840"/>
            <ac:spMk id="5" creationId="{85B0C6AB-4906-5932-12D4-5FAF7DC72C97}"/>
          </ac:spMkLst>
        </pc:spChg>
        <pc:graphicFrameChg chg="add del mod">
          <ac:chgData name="Tường SKHĐT" userId="ab9568c39a88b08a" providerId="LiveId" clId="{A0A1AF5B-C8A6-4505-B2BC-7B9D5E4B6587}" dt="2023-06-12T05:30:27.561" v="2849" actId="21"/>
          <ac:graphicFrameMkLst>
            <pc:docMk/>
            <pc:sldMk cId="6835708" sldId="2147473840"/>
            <ac:graphicFrameMk id="2" creationId="{3406491E-8319-C770-DD5F-2CF38C7063BC}"/>
          </ac:graphicFrameMkLst>
        </pc:graphicFrameChg>
        <pc:graphicFrameChg chg="mod">
          <ac:chgData name="Tường SKHĐT" userId="ab9568c39a88b08a" providerId="LiveId" clId="{A0A1AF5B-C8A6-4505-B2BC-7B9D5E4B6587}" dt="2023-06-12T05:30:48.469" v="2852" actId="14100"/>
          <ac:graphicFrameMkLst>
            <pc:docMk/>
            <pc:sldMk cId="6835708" sldId="2147473840"/>
            <ac:graphicFrameMk id="3" creationId="{296CCC93-7557-A3E5-D3C3-53FE7080823C}"/>
          </ac:graphicFrameMkLst>
        </pc:graphicFrameChg>
      </pc:sldChg>
      <pc:sldChg chg="add del">
        <pc:chgData name="Tường SKHĐT" userId="ab9568c39a88b08a" providerId="LiveId" clId="{A0A1AF5B-C8A6-4505-B2BC-7B9D5E4B6587}" dt="2023-06-12T04:11:04.581" v="493"/>
        <pc:sldMkLst>
          <pc:docMk/>
          <pc:sldMk cId="4126292990" sldId="2147473841"/>
        </pc:sldMkLst>
      </pc:sldChg>
      <pc:sldChg chg="addSp delSp modSp add mod">
        <pc:chgData name="Tường SKHĐT" userId="ab9568c39a88b08a" providerId="LiveId" clId="{A0A1AF5B-C8A6-4505-B2BC-7B9D5E4B6587}" dt="2023-06-12T04:59:25.274" v="1930" actId="1076"/>
        <pc:sldMkLst>
          <pc:docMk/>
          <pc:sldMk cId="3864172541" sldId="2147473851"/>
        </pc:sldMkLst>
        <pc:spChg chg="del mod">
          <ac:chgData name="Tường SKHĐT" userId="ab9568c39a88b08a" providerId="LiveId" clId="{A0A1AF5B-C8A6-4505-B2BC-7B9D5E4B6587}" dt="2023-06-12T04:59:18.594" v="1928" actId="21"/>
          <ac:spMkLst>
            <pc:docMk/>
            <pc:sldMk cId="3864172541" sldId="2147473851"/>
            <ac:spMk id="2" creationId="{CE3C4475-C923-0AF0-986A-FED6029C2780}"/>
          </ac:spMkLst>
        </pc:spChg>
        <pc:spChg chg="add del mod">
          <ac:chgData name="Tường SKHĐT" userId="ab9568c39a88b08a" providerId="LiveId" clId="{A0A1AF5B-C8A6-4505-B2BC-7B9D5E4B6587}" dt="2023-06-12T04:59:14.485" v="1927" actId="21"/>
          <ac:spMkLst>
            <pc:docMk/>
            <pc:sldMk cId="3864172541" sldId="2147473851"/>
            <ac:spMk id="4" creationId="{64CB236D-9BC2-9A32-B00C-9747EA53D31F}"/>
          </ac:spMkLst>
        </pc:spChg>
        <pc:spChg chg="mod">
          <ac:chgData name="Tường SKHĐT" userId="ab9568c39a88b08a" providerId="LiveId" clId="{A0A1AF5B-C8A6-4505-B2BC-7B9D5E4B6587}" dt="2023-06-12T04:59:21.852" v="1929" actId="1076"/>
          <ac:spMkLst>
            <pc:docMk/>
            <pc:sldMk cId="3864172541" sldId="2147473851"/>
            <ac:spMk id="7" creationId="{C04F4D96-45AD-953D-5897-218BC956CD36}"/>
          </ac:spMkLst>
        </pc:spChg>
        <pc:graphicFrameChg chg="mod">
          <ac:chgData name="Tường SKHĐT" userId="ab9568c39a88b08a" providerId="LiveId" clId="{A0A1AF5B-C8A6-4505-B2BC-7B9D5E4B6587}" dt="2023-06-12T04:59:25.274" v="1930" actId="1076"/>
          <ac:graphicFrameMkLst>
            <pc:docMk/>
            <pc:sldMk cId="3864172541" sldId="2147473851"/>
            <ac:graphicFrameMk id="8" creationId="{B5E5335D-2EED-82AF-3A59-FAE8BB94EAE1}"/>
          </ac:graphicFrameMkLst>
        </pc:graphicFrameChg>
        <pc:picChg chg="mod">
          <ac:chgData name="Tường SKHĐT" userId="ab9568c39a88b08a" providerId="LiveId" clId="{A0A1AF5B-C8A6-4505-B2BC-7B9D5E4B6587}" dt="2023-06-12T04:54:29.068" v="1834" actId="1076"/>
          <ac:picMkLst>
            <pc:docMk/>
            <pc:sldMk cId="3864172541" sldId="2147473851"/>
            <ac:picMk id="3" creationId="{0B7CA021-09F3-1F33-484C-C8E22C0125A5}"/>
          </ac:picMkLst>
        </pc:picChg>
      </pc:sldChg>
      <pc:sldChg chg="addSp delSp modSp add mod">
        <pc:chgData name="Tường SKHĐT" userId="ab9568c39a88b08a" providerId="LiveId" clId="{A0A1AF5B-C8A6-4505-B2BC-7B9D5E4B6587}" dt="2023-06-12T05:32:31.484" v="2882" actId="1076"/>
        <pc:sldMkLst>
          <pc:docMk/>
          <pc:sldMk cId="2159545141" sldId="2147473852"/>
        </pc:sldMkLst>
        <pc:spChg chg="add mod">
          <ac:chgData name="Tường SKHĐT" userId="ab9568c39a88b08a" providerId="LiveId" clId="{A0A1AF5B-C8A6-4505-B2BC-7B9D5E4B6587}" dt="2023-06-12T05:32:31.484" v="2882" actId="1076"/>
          <ac:spMkLst>
            <pc:docMk/>
            <pc:sldMk cId="2159545141" sldId="2147473852"/>
            <ac:spMk id="2" creationId="{8CB6B711-2AB0-F2FE-B8B8-E6D6581A7BE7}"/>
          </ac:spMkLst>
        </pc:spChg>
        <pc:spChg chg="del">
          <ac:chgData name="Tường SKHĐT" userId="ab9568c39a88b08a" providerId="LiveId" clId="{A0A1AF5B-C8A6-4505-B2BC-7B9D5E4B6587}" dt="2023-06-12T05:00:07.351" v="1946" actId="21"/>
          <ac:spMkLst>
            <pc:docMk/>
            <pc:sldMk cId="2159545141" sldId="2147473852"/>
            <ac:spMk id="4" creationId="{46B6E1F4-F206-B042-DDA5-71C9CBE1810E}"/>
          </ac:spMkLst>
        </pc:spChg>
        <pc:graphicFrameChg chg="mod modGraphic">
          <ac:chgData name="Tường SKHĐT" userId="ab9568c39a88b08a" providerId="LiveId" clId="{A0A1AF5B-C8A6-4505-B2BC-7B9D5E4B6587}" dt="2023-06-12T05:32:27.940" v="2881" actId="20577"/>
          <ac:graphicFrameMkLst>
            <pc:docMk/>
            <pc:sldMk cId="2159545141" sldId="2147473852"/>
            <ac:graphicFrameMk id="3" creationId="{1243D2EC-FD70-31EF-486E-0289B57D5A19}"/>
          </ac:graphicFrameMkLst>
        </pc:graphicFrameChg>
      </pc:sldChg>
      <pc:sldChg chg="addSp delSp modSp add mod">
        <pc:chgData name="Tường SKHĐT" userId="ab9568c39a88b08a" providerId="LiveId" clId="{A0A1AF5B-C8A6-4505-B2BC-7B9D5E4B6587}" dt="2023-06-12T04:58:35.490" v="1917" actId="14100"/>
        <pc:sldMkLst>
          <pc:docMk/>
          <pc:sldMk cId="1297180345" sldId="2147473853"/>
        </pc:sldMkLst>
        <pc:spChg chg="mod">
          <ac:chgData name="Tường SKHĐT" userId="ab9568c39a88b08a" providerId="LiveId" clId="{A0A1AF5B-C8A6-4505-B2BC-7B9D5E4B6587}" dt="2023-06-12T04:55:58.626" v="1907" actId="1076"/>
          <ac:spMkLst>
            <pc:docMk/>
            <pc:sldMk cId="1297180345" sldId="2147473853"/>
            <ac:spMk id="3" creationId="{9EEAB35B-95EE-9E95-CA06-D08BE6065423}"/>
          </ac:spMkLst>
        </pc:spChg>
        <pc:graphicFrameChg chg="del">
          <ac:chgData name="Tường SKHĐT" userId="ab9568c39a88b08a" providerId="LiveId" clId="{A0A1AF5B-C8A6-4505-B2BC-7B9D5E4B6587}" dt="2023-06-12T04:58:27.933" v="1913" actId="21"/>
          <ac:graphicFrameMkLst>
            <pc:docMk/>
            <pc:sldMk cId="1297180345" sldId="2147473853"/>
            <ac:graphicFrameMk id="2" creationId="{BCE5C303-D171-1C6C-BB48-0A21E49A6976}"/>
          </ac:graphicFrameMkLst>
        </pc:graphicFrameChg>
        <pc:graphicFrameChg chg="add mod">
          <ac:chgData name="Tường SKHĐT" userId="ab9568c39a88b08a" providerId="LiveId" clId="{A0A1AF5B-C8A6-4505-B2BC-7B9D5E4B6587}" dt="2023-06-12T04:58:35.490" v="1917" actId="14100"/>
          <ac:graphicFrameMkLst>
            <pc:docMk/>
            <pc:sldMk cId="1297180345" sldId="2147473853"/>
            <ac:graphicFrameMk id="5" creationId="{6D779EB1-37D9-23C5-2512-84466D09452B}"/>
          </ac:graphicFrameMkLst>
        </pc:graphicFrameChg>
      </pc:sldChg>
      <pc:sldChg chg="add">
        <pc:chgData name="Tường SKHĐT" userId="ab9568c39a88b08a" providerId="LiveId" clId="{A0A1AF5B-C8A6-4505-B2BC-7B9D5E4B6587}" dt="2023-06-12T04:25:22.949" v="498"/>
        <pc:sldMkLst>
          <pc:docMk/>
          <pc:sldMk cId="595962106" sldId="2147473854"/>
        </pc:sldMkLst>
      </pc:sldChg>
      <pc:sldChg chg="addSp delSp modSp add mod">
        <pc:chgData name="Tường SKHĐT" userId="ab9568c39a88b08a" providerId="LiveId" clId="{A0A1AF5B-C8A6-4505-B2BC-7B9D5E4B6587}" dt="2023-06-12T04:40:17.027" v="1054" actId="1076"/>
        <pc:sldMkLst>
          <pc:docMk/>
          <pc:sldMk cId="1061291802" sldId="2147473855"/>
        </pc:sldMkLst>
        <pc:spChg chg="add mod">
          <ac:chgData name="Tường SKHĐT" userId="ab9568c39a88b08a" providerId="LiveId" clId="{A0A1AF5B-C8A6-4505-B2BC-7B9D5E4B6587}" dt="2023-06-12T04:40:13.841" v="1052" actId="1076"/>
          <ac:spMkLst>
            <pc:docMk/>
            <pc:sldMk cId="1061291802" sldId="2147473855"/>
            <ac:spMk id="2" creationId="{9CC5DA20-2217-BBB5-ABE1-A4802EFDECC4}"/>
          </ac:spMkLst>
        </pc:spChg>
        <pc:spChg chg="del">
          <ac:chgData name="Tường SKHĐT" userId="ab9568c39a88b08a" providerId="LiveId" clId="{A0A1AF5B-C8A6-4505-B2BC-7B9D5E4B6587}" dt="2023-06-12T04:34:54.141" v="780" actId="21"/>
          <ac:spMkLst>
            <pc:docMk/>
            <pc:sldMk cId="1061291802" sldId="2147473855"/>
            <ac:spMk id="3" creationId="{41F7B89A-950B-BCEA-7B34-24C31F06EEAE}"/>
          </ac:spMkLst>
        </pc:spChg>
        <pc:spChg chg="mod">
          <ac:chgData name="Tường SKHĐT" userId="ab9568c39a88b08a" providerId="LiveId" clId="{A0A1AF5B-C8A6-4505-B2BC-7B9D5E4B6587}" dt="2023-06-12T04:39:47.239" v="1043" actId="404"/>
          <ac:spMkLst>
            <pc:docMk/>
            <pc:sldMk cId="1061291802" sldId="2147473855"/>
            <ac:spMk id="4" creationId="{F2F47907-BFA6-9C9C-7410-0773243570E0}"/>
          </ac:spMkLst>
        </pc:spChg>
        <pc:spChg chg="del">
          <ac:chgData name="Tường SKHĐT" userId="ab9568c39a88b08a" providerId="LiveId" clId="{A0A1AF5B-C8A6-4505-B2BC-7B9D5E4B6587}" dt="2023-06-12T04:34:56.159" v="781" actId="21"/>
          <ac:spMkLst>
            <pc:docMk/>
            <pc:sldMk cId="1061291802" sldId="2147473855"/>
            <ac:spMk id="5" creationId="{85B0C6AB-4906-5932-12D4-5FAF7DC72C97}"/>
          </ac:spMkLst>
        </pc:spChg>
        <pc:spChg chg="add del mod">
          <ac:chgData name="Tường SKHĐT" userId="ab9568c39a88b08a" providerId="LiveId" clId="{A0A1AF5B-C8A6-4505-B2BC-7B9D5E4B6587}" dt="2023-06-12T04:36:10.734" v="1002" actId="21"/>
          <ac:spMkLst>
            <pc:docMk/>
            <pc:sldMk cId="1061291802" sldId="2147473855"/>
            <ac:spMk id="6" creationId="{EA880748-6481-FBF2-EE54-41368323559F}"/>
          </ac:spMkLst>
        </pc:spChg>
        <pc:spChg chg="add mod">
          <ac:chgData name="Tường SKHĐT" userId="ab9568c39a88b08a" providerId="LiveId" clId="{A0A1AF5B-C8A6-4505-B2BC-7B9D5E4B6587}" dt="2023-06-12T04:40:11.729" v="1051" actId="1076"/>
          <ac:spMkLst>
            <pc:docMk/>
            <pc:sldMk cId="1061291802" sldId="2147473855"/>
            <ac:spMk id="9" creationId="{40C78561-6569-FD6F-70AA-562A2ACA1844}"/>
          </ac:spMkLst>
        </pc:spChg>
        <pc:graphicFrameChg chg="del">
          <ac:chgData name="Tường SKHĐT" userId="ab9568c39a88b08a" providerId="LiveId" clId="{A0A1AF5B-C8A6-4505-B2BC-7B9D5E4B6587}" dt="2023-06-12T04:36:59.229" v="1007" actId="21"/>
          <ac:graphicFrameMkLst>
            <pc:docMk/>
            <pc:sldMk cId="1061291802" sldId="2147473855"/>
            <ac:graphicFrameMk id="7" creationId="{65ED0CA7-264C-1318-BA20-73CF6FF0B39F}"/>
          </ac:graphicFrameMkLst>
        </pc:graphicFrameChg>
        <pc:graphicFrameChg chg="add mod modGraphic">
          <ac:chgData name="Tường SKHĐT" userId="ab9568c39a88b08a" providerId="LiveId" clId="{A0A1AF5B-C8A6-4505-B2BC-7B9D5E4B6587}" dt="2023-06-12T04:40:17.027" v="1054" actId="1076"/>
          <ac:graphicFrameMkLst>
            <pc:docMk/>
            <pc:sldMk cId="1061291802" sldId="2147473855"/>
            <ac:graphicFrameMk id="10" creationId="{49A86850-CEFC-B0CC-86EB-C8AB4B4D243D}"/>
          </ac:graphicFrameMkLst>
        </pc:graphicFrameChg>
      </pc:sldChg>
      <pc:sldChg chg="add del">
        <pc:chgData name="Tường SKHĐT" userId="ab9568c39a88b08a" providerId="LiveId" clId="{A0A1AF5B-C8A6-4505-B2BC-7B9D5E4B6587}" dt="2023-06-12T05:30:42.445" v="2850" actId="2696"/>
        <pc:sldMkLst>
          <pc:docMk/>
          <pc:sldMk cId="2867155813" sldId="2147473856"/>
        </pc:sldMkLst>
      </pc:sldChg>
      <pc:sldChg chg="delSp modSp add del mod">
        <pc:chgData name="Tường SKHĐT" userId="ab9568c39a88b08a" providerId="LiveId" clId="{A0A1AF5B-C8A6-4505-B2BC-7B9D5E4B6587}" dt="2023-06-12T05:43:01.584" v="3721" actId="2696"/>
        <pc:sldMkLst>
          <pc:docMk/>
          <pc:sldMk cId="3302579594" sldId="2147473856"/>
        </pc:sldMkLst>
        <pc:spChg chg="mod">
          <ac:chgData name="Tường SKHĐT" userId="ab9568c39a88b08a" providerId="LiveId" clId="{A0A1AF5B-C8A6-4505-B2BC-7B9D5E4B6587}" dt="2023-06-12T05:34:04.734" v="2904" actId="20577"/>
          <ac:spMkLst>
            <pc:docMk/>
            <pc:sldMk cId="3302579594" sldId="2147473856"/>
            <ac:spMk id="2" creationId="{E3F2BF9A-C482-E244-621B-6DF71CDC208B}"/>
          </ac:spMkLst>
        </pc:spChg>
        <pc:spChg chg="del">
          <ac:chgData name="Tường SKHĐT" userId="ab9568c39a88b08a" providerId="LiveId" clId="{A0A1AF5B-C8A6-4505-B2BC-7B9D5E4B6587}" dt="2023-06-12T05:33:59.247" v="2898" actId="21"/>
          <ac:spMkLst>
            <pc:docMk/>
            <pc:sldMk cId="3302579594" sldId="2147473856"/>
            <ac:spMk id="25" creationId="{01DC26C3-E6F4-C27A-8624-3A65D81B6008}"/>
          </ac:spMkLst>
        </pc:spChg>
        <pc:graphicFrameChg chg="mod modGraphic">
          <ac:chgData name="Tường SKHĐT" userId="ab9568c39a88b08a" providerId="LiveId" clId="{A0A1AF5B-C8A6-4505-B2BC-7B9D5E4B6587}" dt="2023-06-12T05:42:12.937" v="3707" actId="21"/>
          <ac:graphicFrameMkLst>
            <pc:docMk/>
            <pc:sldMk cId="3302579594" sldId="2147473856"/>
            <ac:graphicFrameMk id="8" creationId="{B5E5335D-2EED-82AF-3A59-FAE8BB94EAE1}"/>
          </ac:graphicFrameMkLst>
        </pc:graphicFrameChg>
      </pc:sldChg>
      <pc:sldChg chg="delSp add mod">
        <pc:chgData name="Tường SKHĐT" userId="ab9568c39a88b08a" providerId="LiveId" clId="{A0A1AF5B-C8A6-4505-B2BC-7B9D5E4B6587}" dt="2023-06-12T07:07:42.547" v="4669" actId="21"/>
        <pc:sldMkLst>
          <pc:docMk/>
          <pc:sldMk cId="3676880401" sldId="2147473856"/>
        </pc:sldMkLst>
        <pc:graphicFrameChg chg="del">
          <ac:chgData name="Tường SKHĐT" userId="ab9568c39a88b08a" providerId="LiveId" clId="{A0A1AF5B-C8A6-4505-B2BC-7B9D5E4B6587}" dt="2023-06-12T07:07:42.547" v="4669" actId="21"/>
          <ac:graphicFrameMkLst>
            <pc:docMk/>
            <pc:sldMk cId="3676880401" sldId="2147473856"/>
            <ac:graphicFrameMk id="3" creationId="{296CCC93-7557-A3E5-D3C3-53FE7080823C}"/>
          </ac:graphicFrameMkLst>
        </pc:graphicFrameChg>
      </pc:sldChg>
    </pc:docChg>
  </pc:docChgLst>
  <pc:docChgLst>
    <pc:chgData name="Tường SKHĐT" userId="ab9568c39a88b08a" providerId="LiveId" clId="{C2DF36C6-49EB-47C8-B10C-4BCBDFF8EBE5}"/>
    <pc:docChg chg="undo custSel addSld delSld modSld">
      <pc:chgData name="Tường SKHĐT" userId="ab9568c39a88b08a" providerId="LiveId" clId="{C2DF36C6-49EB-47C8-B10C-4BCBDFF8EBE5}" dt="2023-04-03T09:12:01.203" v="807" actId="207"/>
      <pc:docMkLst>
        <pc:docMk/>
      </pc:docMkLst>
      <pc:sldChg chg="modSp">
        <pc:chgData name="Tường SKHĐT" userId="ab9568c39a88b08a" providerId="LiveId" clId="{C2DF36C6-49EB-47C8-B10C-4BCBDFF8EBE5}" dt="2023-04-03T07:54:48.863" v="720" actId="20577"/>
        <pc:sldMkLst>
          <pc:docMk/>
          <pc:sldMk cId="2016091477" sldId="608"/>
        </pc:sldMkLst>
        <pc:graphicFrameChg chg="mod">
          <ac:chgData name="Tường SKHĐT" userId="ab9568c39a88b08a" providerId="LiveId" clId="{C2DF36C6-49EB-47C8-B10C-4BCBDFF8EBE5}" dt="2023-04-03T07:54:48.863" v="720" actId="20577"/>
          <ac:graphicFrameMkLst>
            <pc:docMk/>
            <pc:sldMk cId="2016091477" sldId="608"/>
            <ac:graphicFrameMk id="6" creationId="{00000000-0000-0000-0000-000000000000}"/>
          </ac:graphicFrameMkLst>
        </pc:graphicFrameChg>
      </pc:sldChg>
      <pc:sldChg chg="modSp">
        <pc:chgData name="Tường SKHĐT" userId="ab9568c39a88b08a" providerId="LiveId" clId="{C2DF36C6-49EB-47C8-B10C-4BCBDFF8EBE5}" dt="2023-04-03T07:44:48.101" v="716" actId="20577"/>
        <pc:sldMkLst>
          <pc:docMk/>
          <pc:sldMk cId="2759319111" sldId="2147473541"/>
        </pc:sldMkLst>
        <pc:graphicFrameChg chg="mod">
          <ac:chgData name="Tường SKHĐT" userId="ab9568c39a88b08a" providerId="LiveId" clId="{C2DF36C6-49EB-47C8-B10C-4BCBDFF8EBE5}" dt="2023-04-03T07:44:48.101" v="716" actId="20577"/>
          <ac:graphicFrameMkLst>
            <pc:docMk/>
            <pc:sldMk cId="2759319111" sldId="2147473541"/>
            <ac:graphicFrameMk id="6" creationId="{00000000-0000-0000-0000-000000000000}"/>
          </ac:graphicFrameMkLst>
        </pc:graphicFrameChg>
      </pc:sldChg>
      <pc:sldChg chg="modSp">
        <pc:chgData name="Tường SKHĐT" userId="ab9568c39a88b08a" providerId="LiveId" clId="{C2DF36C6-49EB-47C8-B10C-4BCBDFF8EBE5}" dt="2023-04-03T07:44:51.097" v="718" actId="20577"/>
        <pc:sldMkLst>
          <pc:docMk/>
          <pc:sldMk cId="740355695" sldId="2147473583"/>
        </pc:sldMkLst>
        <pc:graphicFrameChg chg="mod">
          <ac:chgData name="Tường SKHĐT" userId="ab9568c39a88b08a" providerId="LiveId" clId="{C2DF36C6-49EB-47C8-B10C-4BCBDFF8EBE5}" dt="2023-04-03T07:44:51.097" v="718" actId="20577"/>
          <ac:graphicFrameMkLst>
            <pc:docMk/>
            <pc:sldMk cId="740355695" sldId="2147473583"/>
            <ac:graphicFrameMk id="6" creationId="{00000000-0000-0000-0000-000000000000}"/>
          </ac:graphicFrameMkLst>
        </pc:graphicFrameChg>
      </pc:sldChg>
      <pc:sldChg chg="del">
        <pc:chgData name="Tường SKHĐT" userId="ab9568c39a88b08a" providerId="LiveId" clId="{C2DF36C6-49EB-47C8-B10C-4BCBDFF8EBE5}" dt="2023-04-03T06:41:19.774" v="86" actId="2696"/>
        <pc:sldMkLst>
          <pc:docMk/>
          <pc:sldMk cId="3053452888" sldId="2147473633"/>
        </pc:sldMkLst>
      </pc:sldChg>
      <pc:sldChg chg="modSp mod">
        <pc:chgData name="Tường SKHĐT" userId="ab9568c39a88b08a" providerId="LiveId" clId="{C2DF36C6-49EB-47C8-B10C-4BCBDFF8EBE5}" dt="2023-04-03T07:55:45.782" v="721" actId="20577"/>
        <pc:sldMkLst>
          <pc:docMk/>
          <pc:sldMk cId="3797015765" sldId="2147473661"/>
        </pc:sldMkLst>
        <pc:spChg chg="mod">
          <ac:chgData name="Tường SKHĐT" userId="ab9568c39a88b08a" providerId="LiveId" clId="{C2DF36C6-49EB-47C8-B10C-4BCBDFF8EBE5}" dt="2023-04-03T07:55:45.782" v="721" actId="20577"/>
          <ac:spMkLst>
            <pc:docMk/>
            <pc:sldMk cId="3797015765" sldId="2147473661"/>
            <ac:spMk id="7" creationId="{CA70BC92-6CA9-4A1F-4B61-29A46D2A51FE}"/>
          </ac:spMkLst>
        </pc:spChg>
        <pc:graphicFrameChg chg="mod modGraphic">
          <ac:chgData name="Tường SKHĐT" userId="ab9568c39a88b08a" providerId="LiveId" clId="{C2DF36C6-49EB-47C8-B10C-4BCBDFF8EBE5}" dt="2023-04-03T06:45:49.748" v="223" actId="207"/>
          <ac:graphicFrameMkLst>
            <pc:docMk/>
            <pc:sldMk cId="3797015765" sldId="2147473661"/>
            <ac:graphicFrameMk id="2" creationId="{14EEF524-2669-CB3B-A2D7-1A3F0888A442}"/>
          </ac:graphicFrameMkLst>
        </pc:graphicFrameChg>
      </pc:sldChg>
      <pc:sldChg chg="modSp mod">
        <pc:chgData name="Tường SKHĐT" userId="ab9568c39a88b08a" providerId="LiveId" clId="{C2DF36C6-49EB-47C8-B10C-4BCBDFF8EBE5}" dt="2023-04-03T07:55:58.998" v="722" actId="20577"/>
        <pc:sldMkLst>
          <pc:docMk/>
          <pc:sldMk cId="3847146912" sldId="2147473680"/>
        </pc:sldMkLst>
        <pc:spChg chg="mod">
          <ac:chgData name="Tường SKHĐT" userId="ab9568c39a88b08a" providerId="LiveId" clId="{C2DF36C6-49EB-47C8-B10C-4BCBDFF8EBE5}" dt="2023-04-03T07:55:58.998" v="722" actId="20577"/>
          <ac:spMkLst>
            <pc:docMk/>
            <pc:sldMk cId="3847146912" sldId="2147473680"/>
            <ac:spMk id="7" creationId="{CA70BC92-6CA9-4A1F-4B61-29A46D2A51FE}"/>
          </ac:spMkLst>
        </pc:spChg>
      </pc:sldChg>
      <pc:sldChg chg="delSp modSp mod">
        <pc:chgData name="Tường SKHĐT" userId="ab9568c39a88b08a" providerId="LiveId" clId="{C2DF36C6-49EB-47C8-B10C-4BCBDFF8EBE5}" dt="2023-04-03T08:44:42.684" v="786" actId="1076"/>
        <pc:sldMkLst>
          <pc:docMk/>
          <pc:sldMk cId="2676458148" sldId="2147473686"/>
        </pc:sldMkLst>
        <pc:spChg chg="del">
          <ac:chgData name="Tường SKHĐT" userId="ab9568c39a88b08a" providerId="LiveId" clId="{C2DF36C6-49EB-47C8-B10C-4BCBDFF8EBE5}" dt="2023-04-03T08:43:38.203" v="764" actId="21"/>
          <ac:spMkLst>
            <pc:docMk/>
            <pc:sldMk cId="2676458148" sldId="2147473686"/>
            <ac:spMk id="4" creationId="{1A8C40CB-9A3D-D4B1-5127-3CB71E005871}"/>
          </ac:spMkLst>
        </pc:spChg>
        <pc:spChg chg="mod">
          <ac:chgData name="Tường SKHĐT" userId="ab9568c39a88b08a" providerId="LiveId" clId="{C2DF36C6-49EB-47C8-B10C-4BCBDFF8EBE5}" dt="2023-04-03T08:43:41.656" v="765" actId="1076"/>
          <ac:spMkLst>
            <pc:docMk/>
            <pc:sldMk cId="2676458148" sldId="2147473686"/>
            <ac:spMk id="6" creationId="{1CB0CB7C-2336-84B1-57C9-3361036915F6}"/>
          </ac:spMkLst>
        </pc:spChg>
        <pc:spChg chg="mod">
          <ac:chgData name="Tường SKHĐT" userId="ab9568c39a88b08a" providerId="LiveId" clId="{C2DF36C6-49EB-47C8-B10C-4BCBDFF8EBE5}" dt="2023-04-03T08:44:42.684" v="786" actId="1076"/>
          <ac:spMkLst>
            <pc:docMk/>
            <pc:sldMk cId="2676458148" sldId="2147473686"/>
            <ac:spMk id="7" creationId="{C04F4D96-45AD-953D-5897-218BC956CD36}"/>
          </ac:spMkLst>
        </pc:spChg>
        <pc:graphicFrameChg chg="mod">
          <ac:chgData name="Tường SKHĐT" userId="ab9568c39a88b08a" providerId="LiveId" clId="{C2DF36C6-49EB-47C8-B10C-4BCBDFF8EBE5}" dt="2023-04-03T08:44:37.906" v="785" actId="14100"/>
          <ac:graphicFrameMkLst>
            <pc:docMk/>
            <pc:sldMk cId="2676458148" sldId="2147473686"/>
            <ac:graphicFrameMk id="2" creationId="{7B70EAB1-08A9-24DB-D444-B254D15A656F}"/>
          </ac:graphicFrameMkLst>
        </pc:graphicFrameChg>
        <pc:graphicFrameChg chg="mod modGraphic">
          <ac:chgData name="Tường SKHĐT" userId="ab9568c39a88b08a" providerId="LiveId" clId="{C2DF36C6-49EB-47C8-B10C-4BCBDFF8EBE5}" dt="2023-04-03T08:44:31.010" v="783" actId="1076"/>
          <ac:graphicFrameMkLst>
            <pc:docMk/>
            <pc:sldMk cId="2676458148" sldId="2147473686"/>
            <ac:graphicFrameMk id="8" creationId="{B5E5335D-2EED-82AF-3A59-FAE8BB94EAE1}"/>
          </ac:graphicFrameMkLst>
        </pc:graphicFrameChg>
        <pc:picChg chg="mod">
          <ac:chgData name="Tường SKHĐT" userId="ab9568c39a88b08a" providerId="LiveId" clId="{C2DF36C6-49EB-47C8-B10C-4BCBDFF8EBE5}" dt="2023-04-03T08:44:29.416" v="782" actId="1076"/>
          <ac:picMkLst>
            <pc:docMk/>
            <pc:sldMk cId="2676458148" sldId="2147473686"/>
            <ac:picMk id="5" creationId="{1D012F1F-2D3E-DB73-FB3D-9CF264845674}"/>
          </ac:picMkLst>
        </pc:picChg>
      </pc:sldChg>
      <pc:sldChg chg="modSp">
        <pc:chgData name="Tường SKHĐT" userId="ab9568c39a88b08a" providerId="LiveId" clId="{C2DF36C6-49EB-47C8-B10C-4BCBDFF8EBE5}" dt="2023-04-03T08:40:35.435" v="763"/>
        <pc:sldMkLst>
          <pc:docMk/>
          <pc:sldMk cId="9563895" sldId="2147473687"/>
        </pc:sldMkLst>
        <pc:graphicFrameChg chg="mod">
          <ac:chgData name="Tường SKHĐT" userId="ab9568c39a88b08a" providerId="LiveId" clId="{C2DF36C6-49EB-47C8-B10C-4BCBDFF8EBE5}" dt="2023-04-03T08:40:35.435" v="763"/>
          <ac:graphicFrameMkLst>
            <pc:docMk/>
            <pc:sldMk cId="9563895" sldId="2147473687"/>
            <ac:graphicFrameMk id="4" creationId="{00000000-0000-0000-0000-000000000000}"/>
          </ac:graphicFrameMkLst>
        </pc:graphicFrameChg>
      </pc:sldChg>
      <pc:sldChg chg="addSp delSp modSp mod">
        <pc:chgData name="Tường SKHĐT" userId="ab9568c39a88b08a" providerId="LiveId" clId="{C2DF36C6-49EB-47C8-B10C-4BCBDFF8EBE5}" dt="2023-04-03T08:36:44.752" v="760" actId="1076"/>
        <pc:sldMkLst>
          <pc:docMk/>
          <pc:sldMk cId="1100242652" sldId="2147473690"/>
        </pc:sldMkLst>
        <pc:spChg chg="mod">
          <ac:chgData name="Tường SKHĐT" userId="ab9568c39a88b08a" providerId="LiveId" clId="{C2DF36C6-49EB-47C8-B10C-4BCBDFF8EBE5}" dt="2023-04-03T08:36:42.311" v="759" actId="1076"/>
          <ac:spMkLst>
            <pc:docMk/>
            <pc:sldMk cId="1100242652" sldId="2147473690"/>
            <ac:spMk id="3" creationId="{B12D2C4C-6F96-4E64-A8EB-31804EA17C25}"/>
          </ac:spMkLst>
        </pc:spChg>
        <pc:spChg chg="del">
          <ac:chgData name="Tường SKHĐT" userId="ab9568c39a88b08a" providerId="LiveId" clId="{C2DF36C6-49EB-47C8-B10C-4BCBDFF8EBE5}" dt="2023-04-03T08:36:37.218" v="757" actId="21"/>
          <ac:spMkLst>
            <pc:docMk/>
            <pc:sldMk cId="1100242652" sldId="2147473690"/>
            <ac:spMk id="7" creationId="{12B86A77-EB05-A4E8-D08E-230D247FC14A}"/>
          </ac:spMkLst>
        </pc:spChg>
        <pc:spChg chg="mod">
          <ac:chgData name="Tường SKHĐT" userId="ab9568c39a88b08a" providerId="LiveId" clId="{C2DF36C6-49EB-47C8-B10C-4BCBDFF8EBE5}" dt="2023-04-03T08:36:39.390" v="758" actId="1076"/>
          <ac:spMkLst>
            <pc:docMk/>
            <pc:sldMk cId="1100242652" sldId="2147473690"/>
            <ac:spMk id="9" creationId="{64F6FF76-FE74-0506-286A-B4F3B9584380}"/>
          </ac:spMkLst>
        </pc:spChg>
        <pc:grpChg chg="mod">
          <ac:chgData name="Tường SKHĐT" userId="ab9568c39a88b08a" providerId="LiveId" clId="{C2DF36C6-49EB-47C8-B10C-4BCBDFF8EBE5}" dt="2023-04-03T08:36:09.871" v="749" actId="164"/>
          <ac:grpSpMkLst>
            <pc:docMk/>
            <pc:sldMk cId="1100242652" sldId="2147473690"/>
            <ac:grpSpMk id="4" creationId="{DD6FE299-8573-1A4B-3C63-313A94891E7F}"/>
          </ac:grpSpMkLst>
        </pc:grpChg>
        <pc:grpChg chg="add mod">
          <ac:chgData name="Tường SKHĐT" userId="ab9568c39a88b08a" providerId="LiveId" clId="{C2DF36C6-49EB-47C8-B10C-4BCBDFF8EBE5}" dt="2023-04-03T08:36:18.851" v="752" actId="14100"/>
          <ac:grpSpMkLst>
            <pc:docMk/>
            <pc:sldMk cId="1100242652" sldId="2147473690"/>
            <ac:grpSpMk id="5" creationId="{ED42738F-27C6-7E3F-7A6C-6A0689648F30}"/>
          </ac:grpSpMkLst>
        </pc:grpChg>
        <pc:grpChg chg="mod">
          <ac:chgData name="Tường SKHĐT" userId="ab9568c39a88b08a" providerId="LiveId" clId="{C2DF36C6-49EB-47C8-B10C-4BCBDFF8EBE5}" dt="2023-04-03T08:36:09.871" v="749" actId="164"/>
          <ac:grpSpMkLst>
            <pc:docMk/>
            <pc:sldMk cId="1100242652" sldId="2147473690"/>
            <ac:grpSpMk id="6" creationId="{E56EEAD7-BA7C-5393-023B-57E291DB0A7A}"/>
          </ac:grpSpMkLst>
        </pc:grpChg>
        <pc:graphicFrameChg chg="add mod">
          <ac:chgData name="Tường SKHĐT" userId="ab9568c39a88b08a" providerId="LiveId" clId="{C2DF36C6-49EB-47C8-B10C-4BCBDFF8EBE5}" dt="2023-04-03T08:36:44.752" v="760" actId="1076"/>
          <ac:graphicFrameMkLst>
            <pc:docMk/>
            <pc:sldMk cId="1100242652" sldId="2147473690"/>
            <ac:graphicFrameMk id="8" creationId="{AD432798-B5B0-6CAD-96A6-CF4ADF38D922}"/>
          </ac:graphicFrameMkLst>
        </pc:graphicFrameChg>
        <pc:picChg chg="mod">
          <ac:chgData name="Tường SKHĐT" userId="ab9568c39a88b08a" providerId="LiveId" clId="{C2DF36C6-49EB-47C8-B10C-4BCBDFF8EBE5}" dt="2023-04-03T08:36:09.871" v="749" actId="164"/>
          <ac:picMkLst>
            <pc:docMk/>
            <pc:sldMk cId="1100242652" sldId="2147473690"/>
            <ac:picMk id="2" creationId="{5FCB53AA-6BFD-342E-CE53-282CBE00B9C3}"/>
          </ac:picMkLst>
        </pc:picChg>
        <pc:picChg chg="mod">
          <ac:chgData name="Tường SKHĐT" userId="ab9568c39a88b08a" providerId="LiveId" clId="{C2DF36C6-49EB-47C8-B10C-4BCBDFF8EBE5}" dt="2023-04-03T08:36:09.871" v="749" actId="164"/>
          <ac:picMkLst>
            <pc:docMk/>
            <pc:sldMk cId="1100242652" sldId="2147473690"/>
            <ac:picMk id="10" creationId="{1E5AC274-1FDC-ED10-46A7-61EEC50075A0}"/>
          </ac:picMkLst>
        </pc:picChg>
        <pc:picChg chg="mod">
          <ac:chgData name="Tường SKHĐT" userId="ab9568c39a88b08a" providerId="LiveId" clId="{C2DF36C6-49EB-47C8-B10C-4BCBDFF8EBE5}" dt="2023-04-03T08:36:09.871" v="749" actId="164"/>
          <ac:picMkLst>
            <pc:docMk/>
            <pc:sldMk cId="1100242652" sldId="2147473690"/>
            <ac:picMk id="12" creationId="{02B9306E-529A-4AF8-06B9-34FAF79AB840}"/>
          </ac:picMkLst>
        </pc:picChg>
      </pc:sldChg>
      <pc:sldChg chg="modSp del mod">
        <pc:chgData name="Tường SKHĐT" userId="ab9568c39a88b08a" providerId="LiveId" clId="{C2DF36C6-49EB-47C8-B10C-4BCBDFF8EBE5}" dt="2023-04-03T07:44:36.394" v="712" actId="2696"/>
        <pc:sldMkLst>
          <pc:docMk/>
          <pc:sldMk cId="1620823413" sldId="2147473701"/>
        </pc:sldMkLst>
        <pc:spChg chg="mod">
          <ac:chgData name="Tường SKHĐT" userId="ab9568c39a88b08a" providerId="LiveId" clId="{C2DF36C6-49EB-47C8-B10C-4BCBDFF8EBE5}" dt="2023-04-03T06:59:46.056" v="325" actId="1076"/>
          <ac:spMkLst>
            <pc:docMk/>
            <pc:sldMk cId="1620823413" sldId="2147473701"/>
            <ac:spMk id="2" creationId="{D73C606B-AAEF-247E-530A-5EAC9C46FF0B}"/>
          </ac:spMkLst>
        </pc:spChg>
      </pc:sldChg>
      <pc:sldChg chg="modSp mod">
        <pc:chgData name="Tường SKHĐT" userId="ab9568c39a88b08a" providerId="LiveId" clId="{C2DF36C6-49EB-47C8-B10C-4BCBDFF8EBE5}" dt="2023-04-03T09:12:01.203" v="807" actId="207"/>
        <pc:sldMkLst>
          <pc:docMk/>
          <pc:sldMk cId="2166843381" sldId="2147473703"/>
        </pc:sldMkLst>
        <pc:graphicFrameChg chg="modGraphic">
          <ac:chgData name="Tường SKHĐT" userId="ab9568c39a88b08a" providerId="LiveId" clId="{C2DF36C6-49EB-47C8-B10C-4BCBDFF8EBE5}" dt="2023-04-03T09:12:01.203" v="807" actId="207"/>
          <ac:graphicFrameMkLst>
            <pc:docMk/>
            <pc:sldMk cId="2166843381" sldId="2147473703"/>
            <ac:graphicFrameMk id="2" creationId="{00000000-0000-0000-0000-000000000000}"/>
          </ac:graphicFrameMkLst>
        </pc:graphicFrameChg>
      </pc:sldChg>
      <pc:sldChg chg="modSp del mod">
        <pc:chgData name="Tường SKHĐT" userId="ab9568c39a88b08a" providerId="LiveId" clId="{C2DF36C6-49EB-47C8-B10C-4BCBDFF8EBE5}" dt="2023-04-03T07:43:14.912" v="704" actId="2696"/>
        <pc:sldMkLst>
          <pc:docMk/>
          <pc:sldMk cId="1376140427" sldId="2147473712"/>
        </pc:sldMkLst>
        <pc:graphicFrameChg chg="mod modGraphic">
          <ac:chgData name="Tường SKHĐT" userId="ab9568c39a88b08a" providerId="LiveId" clId="{C2DF36C6-49EB-47C8-B10C-4BCBDFF8EBE5}" dt="2023-04-03T07:42:22.959" v="702" actId="20577"/>
          <ac:graphicFrameMkLst>
            <pc:docMk/>
            <pc:sldMk cId="1376140427" sldId="2147473712"/>
            <ac:graphicFrameMk id="2" creationId="{01E1D347-08F2-16DA-B029-A5A84E46F07B}"/>
          </ac:graphicFrameMkLst>
        </pc:graphicFrameChg>
        <pc:picChg chg="mod">
          <ac:chgData name="Tường SKHĐT" userId="ab9568c39a88b08a" providerId="LiveId" clId="{C2DF36C6-49EB-47C8-B10C-4BCBDFF8EBE5}" dt="2023-04-03T07:36:53.009" v="349" actId="14100"/>
          <ac:picMkLst>
            <pc:docMk/>
            <pc:sldMk cId="1376140427" sldId="2147473712"/>
            <ac:picMk id="4" creationId="{5062DEE3-5B6A-4D86-20A6-B596F2C283B7}"/>
          </ac:picMkLst>
        </pc:picChg>
      </pc:sldChg>
      <pc:sldChg chg="modSp add mod">
        <pc:chgData name="Tường SKHĐT" userId="ab9568c39a88b08a" providerId="LiveId" clId="{C2DF36C6-49EB-47C8-B10C-4BCBDFF8EBE5}" dt="2023-04-03T06:41:12.989" v="85" actId="14100"/>
        <pc:sldMkLst>
          <pc:docMk/>
          <pc:sldMk cId="3922024460" sldId="2147473718"/>
        </pc:sldMkLst>
        <pc:spChg chg="mod">
          <ac:chgData name="Tường SKHĐT" userId="ab9568c39a88b08a" providerId="LiveId" clId="{C2DF36C6-49EB-47C8-B10C-4BCBDFF8EBE5}" dt="2023-04-03T06:41:12.989" v="85" actId="14100"/>
          <ac:spMkLst>
            <pc:docMk/>
            <pc:sldMk cId="3922024460" sldId="2147473718"/>
            <ac:spMk id="25" creationId="{01DC26C3-E6F4-C27A-8624-3A65D81B6008}"/>
          </ac:spMkLst>
        </pc:spChg>
      </pc:sldChg>
      <pc:sldChg chg="delSp modSp add mod">
        <pc:chgData name="Tường SKHĐT" userId="ab9568c39a88b08a" providerId="LiveId" clId="{C2DF36C6-49EB-47C8-B10C-4BCBDFF8EBE5}" dt="2023-04-03T06:42:06.865" v="204" actId="14100"/>
        <pc:sldMkLst>
          <pc:docMk/>
          <pc:sldMk cId="3384527337" sldId="2147473719"/>
        </pc:sldMkLst>
        <pc:spChg chg="mod">
          <ac:chgData name="Tường SKHĐT" userId="ab9568c39a88b08a" providerId="LiveId" clId="{C2DF36C6-49EB-47C8-B10C-4BCBDFF8EBE5}" dt="2023-04-03T06:41:47.620" v="202" actId="14100"/>
          <ac:spMkLst>
            <pc:docMk/>
            <pc:sldMk cId="3384527337" sldId="2147473719"/>
            <ac:spMk id="25" creationId="{01DC26C3-E6F4-C27A-8624-3A65D81B6008}"/>
          </ac:spMkLst>
        </pc:spChg>
        <pc:graphicFrameChg chg="mod">
          <ac:chgData name="Tường SKHĐT" userId="ab9568c39a88b08a" providerId="LiveId" clId="{C2DF36C6-49EB-47C8-B10C-4BCBDFF8EBE5}" dt="2023-04-03T06:42:06.865" v="204" actId="14100"/>
          <ac:graphicFrameMkLst>
            <pc:docMk/>
            <pc:sldMk cId="3384527337" sldId="2147473719"/>
            <ac:graphicFrameMk id="2" creationId="{57F4821D-6B7B-B725-598E-883DE383C235}"/>
          </ac:graphicFrameMkLst>
        </pc:graphicFrameChg>
        <pc:graphicFrameChg chg="del">
          <ac:chgData name="Tường SKHĐT" userId="ab9568c39a88b08a" providerId="LiveId" clId="{C2DF36C6-49EB-47C8-B10C-4BCBDFF8EBE5}" dt="2023-04-03T06:41:28.797" v="88" actId="21"/>
          <ac:graphicFrameMkLst>
            <pc:docMk/>
            <pc:sldMk cId="3384527337" sldId="2147473719"/>
            <ac:graphicFrameMk id="3" creationId="{00000000-0000-0000-0000-000000000000}"/>
          </ac:graphicFrameMkLst>
        </pc:graphicFrameChg>
      </pc:sldChg>
      <pc:sldChg chg="modSp add mod">
        <pc:chgData name="Tường SKHĐT" userId="ab9568c39a88b08a" providerId="LiveId" clId="{C2DF36C6-49EB-47C8-B10C-4BCBDFF8EBE5}" dt="2023-04-03T07:43:39.098" v="710" actId="20577"/>
        <pc:sldMkLst>
          <pc:docMk/>
          <pc:sldMk cId="1186956175" sldId="2147473720"/>
        </pc:sldMkLst>
        <pc:graphicFrameChg chg="mod modGraphic">
          <ac:chgData name="Tường SKHĐT" userId="ab9568c39a88b08a" providerId="LiveId" clId="{C2DF36C6-49EB-47C8-B10C-4BCBDFF8EBE5}" dt="2023-04-03T07:43:39.098" v="710" actId="20577"/>
          <ac:graphicFrameMkLst>
            <pc:docMk/>
            <pc:sldMk cId="1186956175" sldId="2147473720"/>
            <ac:graphicFrameMk id="2" creationId="{01E1D347-08F2-16DA-B029-A5A84E46F07B}"/>
          </ac:graphicFrameMkLst>
        </pc:graphicFrameChg>
      </pc:sldChg>
      <pc:sldChg chg="modSp add">
        <pc:chgData name="Tường SKHĐT" userId="ab9568c39a88b08a" providerId="LiveId" clId="{C2DF36C6-49EB-47C8-B10C-4BCBDFF8EBE5}" dt="2023-04-03T07:44:45.098" v="714" actId="20577"/>
        <pc:sldMkLst>
          <pc:docMk/>
          <pc:sldMk cId="912302037" sldId="2147473721"/>
        </pc:sldMkLst>
        <pc:graphicFrameChg chg="mod">
          <ac:chgData name="Tường SKHĐT" userId="ab9568c39a88b08a" providerId="LiveId" clId="{C2DF36C6-49EB-47C8-B10C-4BCBDFF8EBE5}" dt="2023-04-03T07:44:45.098" v="714" actId="20577"/>
          <ac:graphicFrameMkLst>
            <pc:docMk/>
            <pc:sldMk cId="912302037" sldId="2147473721"/>
            <ac:graphicFrameMk id="6" creationId="{00000000-0000-0000-0000-000000000000}"/>
          </ac:graphicFrameMkLst>
        </pc:graphicFrameChg>
      </pc:sldChg>
      <pc:sldChg chg="delSp modSp add del mod">
        <pc:chgData name="Tường SKHĐT" userId="ab9568c39a88b08a" providerId="LiveId" clId="{C2DF36C6-49EB-47C8-B10C-4BCBDFF8EBE5}" dt="2023-04-03T08:36:49.803" v="761" actId="2696"/>
        <pc:sldMkLst>
          <pc:docMk/>
          <pc:sldMk cId="2576528318" sldId="2147473722"/>
        </pc:sldMkLst>
        <pc:spChg chg="del">
          <ac:chgData name="Tường SKHĐT" userId="ab9568c39a88b08a" providerId="LiveId" clId="{C2DF36C6-49EB-47C8-B10C-4BCBDFF8EBE5}" dt="2023-04-03T08:34:10.426" v="724" actId="478"/>
          <ac:spMkLst>
            <pc:docMk/>
            <pc:sldMk cId="2576528318" sldId="2147473722"/>
            <ac:spMk id="3" creationId="{B12D2C4C-6F96-4E64-A8EB-31804EA17C25}"/>
          </ac:spMkLst>
        </pc:spChg>
        <pc:grpChg chg="del">
          <ac:chgData name="Tường SKHĐT" userId="ab9568c39a88b08a" providerId="LiveId" clId="{C2DF36C6-49EB-47C8-B10C-4BCBDFF8EBE5}" dt="2023-04-03T08:34:10.426" v="724" actId="478"/>
          <ac:grpSpMkLst>
            <pc:docMk/>
            <pc:sldMk cId="2576528318" sldId="2147473722"/>
            <ac:grpSpMk id="4" creationId="{DD6FE299-8573-1A4B-3C63-313A94891E7F}"/>
          </ac:grpSpMkLst>
        </pc:grpChg>
        <pc:grpChg chg="del">
          <ac:chgData name="Tường SKHĐT" userId="ab9568c39a88b08a" providerId="LiveId" clId="{C2DF36C6-49EB-47C8-B10C-4BCBDFF8EBE5}" dt="2023-04-03T08:34:10.426" v="724" actId="478"/>
          <ac:grpSpMkLst>
            <pc:docMk/>
            <pc:sldMk cId="2576528318" sldId="2147473722"/>
            <ac:grpSpMk id="6" creationId="{E56EEAD7-BA7C-5393-023B-57E291DB0A7A}"/>
          </ac:grpSpMkLst>
        </pc:grpChg>
        <pc:graphicFrameChg chg="del">
          <ac:chgData name="Tường SKHĐT" userId="ab9568c39a88b08a" providerId="LiveId" clId="{C2DF36C6-49EB-47C8-B10C-4BCBDFF8EBE5}" dt="2023-04-03T08:34:31.998" v="725" actId="21"/>
          <ac:graphicFrameMkLst>
            <pc:docMk/>
            <pc:sldMk cId="2576528318" sldId="2147473722"/>
            <ac:graphicFrameMk id="5" creationId="{49C2B91F-37BB-45D7-6971-5F5F9DAA2EA6}"/>
          </ac:graphicFrameMkLst>
        </pc:graphicFrameChg>
        <pc:graphicFrameChg chg="mod">
          <ac:chgData name="Tường SKHĐT" userId="ab9568c39a88b08a" providerId="LiveId" clId="{C2DF36C6-49EB-47C8-B10C-4BCBDFF8EBE5}" dt="2023-04-03T08:34:57.090" v="729" actId="1076"/>
          <ac:graphicFrameMkLst>
            <pc:docMk/>
            <pc:sldMk cId="2576528318" sldId="2147473722"/>
            <ac:graphicFrameMk id="8" creationId="{4ADF6C0B-34CE-29D7-73E7-4E86540D39D3}"/>
          </ac:graphicFrameMkLst>
        </pc:graphicFrameChg>
        <pc:picChg chg="del">
          <ac:chgData name="Tường SKHĐT" userId="ab9568c39a88b08a" providerId="LiveId" clId="{C2DF36C6-49EB-47C8-B10C-4BCBDFF8EBE5}" dt="2023-04-03T08:34:10.426" v="724" actId="478"/>
          <ac:picMkLst>
            <pc:docMk/>
            <pc:sldMk cId="2576528318" sldId="2147473722"/>
            <ac:picMk id="2" creationId="{5FCB53AA-6BFD-342E-CE53-282CBE00B9C3}"/>
          </ac:picMkLst>
        </pc:picChg>
        <pc:picChg chg="del">
          <ac:chgData name="Tường SKHĐT" userId="ab9568c39a88b08a" providerId="LiveId" clId="{C2DF36C6-49EB-47C8-B10C-4BCBDFF8EBE5}" dt="2023-04-03T08:34:10.426" v="724" actId="478"/>
          <ac:picMkLst>
            <pc:docMk/>
            <pc:sldMk cId="2576528318" sldId="2147473722"/>
            <ac:picMk id="10" creationId="{1E5AC274-1FDC-ED10-46A7-61EEC50075A0}"/>
          </ac:picMkLst>
        </pc:picChg>
        <pc:picChg chg="del">
          <ac:chgData name="Tường SKHĐT" userId="ab9568c39a88b08a" providerId="LiveId" clId="{C2DF36C6-49EB-47C8-B10C-4BCBDFF8EBE5}" dt="2023-04-03T08:34:10.426" v="724" actId="478"/>
          <ac:picMkLst>
            <pc:docMk/>
            <pc:sldMk cId="2576528318" sldId="2147473722"/>
            <ac:picMk id="12" creationId="{02B9306E-529A-4AF8-06B9-34FAF79AB840}"/>
          </ac:picMkLst>
        </pc:picChg>
      </pc:sldChg>
      <pc:sldChg chg="delSp modSp add mod">
        <pc:chgData name="Tường SKHĐT" userId="ab9568c39a88b08a" providerId="LiveId" clId="{C2DF36C6-49EB-47C8-B10C-4BCBDFF8EBE5}" dt="2023-04-03T09:10:23.230" v="804" actId="1076"/>
        <pc:sldMkLst>
          <pc:docMk/>
          <pc:sldMk cId="2943774504" sldId="2147473722"/>
        </pc:sldMkLst>
        <pc:graphicFrameChg chg="del">
          <ac:chgData name="Tường SKHĐT" userId="ab9568c39a88b08a" providerId="LiveId" clId="{C2DF36C6-49EB-47C8-B10C-4BCBDFF8EBE5}" dt="2023-04-03T09:04:10.246" v="788" actId="21"/>
          <ac:graphicFrameMkLst>
            <pc:docMk/>
            <pc:sldMk cId="2943774504" sldId="2147473722"/>
            <ac:graphicFrameMk id="2" creationId="{7B70EAB1-08A9-24DB-D444-B254D15A656F}"/>
          </ac:graphicFrameMkLst>
        </pc:graphicFrameChg>
        <pc:graphicFrameChg chg="del mod">
          <ac:chgData name="Tường SKHĐT" userId="ab9568c39a88b08a" providerId="LiveId" clId="{C2DF36C6-49EB-47C8-B10C-4BCBDFF8EBE5}" dt="2023-04-03T09:04:39.540" v="795"/>
          <ac:graphicFrameMkLst>
            <pc:docMk/>
            <pc:sldMk cId="2943774504" sldId="2147473722"/>
            <ac:graphicFrameMk id="3" creationId="{16264766-DD99-594F-D75E-C41FE0258D6F}"/>
          </ac:graphicFrameMkLst>
        </pc:graphicFrameChg>
        <pc:graphicFrameChg chg="del mod">
          <ac:chgData name="Tường SKHĐT" userId="ab9568c39a88b08a" providerId="LiveId" clId="{C2DF36C6-49EB-47C8-B10C-4BCBDFF8EBE5}" dt="2023-04-03T09:05:24.813" v="798" actId="21"/>
          <ac:graphicFrameMkLst>
            <pc:docMk/>
            <pc:sldMk cId="2943774504" sldId="2147473722"/>
            <ac:graphicFrameMk id="4" creationId="{6097324B-E7AA-6A4B-3221-4F34992880B9}"/>
          </ac:graphicFrameMkLst>
        </pc:graphicFrameChg>
        <pc:graphicFrameChg chg="del">
          <ac:chgData name="Tường SKHĐT" userId="ab9568c39a88b08a" providerId="LiveId" clId="{C2DF36C6-49EB-47C8-B10C-4BCBDFF8EBE5}" dt="2023-04-03T09:04:14.003" v="789" actId="21"/>
          <ac:graphicFrameMkLst>
            <pc:docMk/>
            <pc:sldMk cId="2943774504" sldId="2147473722"/>
            <ac:graphicFrameMk id="8" creationId="{B5E5335D-2EED-82AF-3A59-FAE8BB94EAE1}"/>
          </ac:graphicFrameMkLst>
        </pc:graphicFrameChg>
        <pc:graphicFrameChg chg="del mod">
          <ac:chgData name="Tường SKHĐT" userId="ab9568c39a88b08a" providerId="LiveId" clId="{C2DF36C6-49EB-47C8-B10C-4BCBDFF8EBE5}" dt="2023-04-03T09:10:13.235" v="802" actId="21"/>
          <ac:graphicFrameMkLst>
            <pc:docMk/>
            <pc:sldMk cId="2943774504" sldId="2147473722"/>
            <ac:graphicFrameMk id="9" creationId="{E0CDD767-B876-7050-02BE-FE7717F377E0}"/>
          </ac:graphicFrameMkLst>
        </pc:graphicFrameChg>
        <pc:graphicFrameChg chg="mod">
          <ac:chgData name="Tường SKHĐT" userId="ab9568c39a88b08a" providerId="LiveId" clId="{C2DF36C6-49EB-47C8-B10C-4BCBDFF8EBE5}" dt="2023-04-03T09:10:23.230" v="804" actId="1076"/>
          <ac:graphicFrameMkLst>
            <pc:docMk/>
            <pc:sldMk cId="2943774504" sldId="2147473722"/>
            <ac:graphicFrameMk id="10" creationId="{4DA33CA2-D53A-5909-6F0A-1CAF1ED730EB}"/>
          </ac:graphicFrameMkLst>
        </pc:graphicFrameChg>
        <pc:picChg chg="del">
          <ac:chgData name="Tường SKHĐT" userId="ab9568c39a88b08a" providerId="LiveId" clId="{C2DF36C6-49EB-47C8-B10C-4BCBDFF8EBE5}" dt="2023-04-03T09:04:16.214" v="790" actId="21"/>
          <ac:picMkLst>
            <pc:docMk/>
            <pc:sldMk cId="2943774504" sldId="2147473722"/>
            <ac:picMk id="5" creationId="{1D012F1F-2D3E-DB73-FB3D-9CF264845674}"/>
          </ac:picMkLst>
        </pc:picChg>
      </pc:sldChg>
    </pc:docChg>
  </pc:docChgLst>
  <pc:docChgLst>
    <pc:chgData name="Tường SKHĐT" userId="ab9568c39a88b08a" providerId="LiveId" clId="{24B61DD5-81B7-41F8-A7DC-70CAC367F49C}"/>
    <pc:docChg chg="undo custSel addSld delSld modSld">
      <pc:chgData name="Tường SKHĐT" userId="ab9568c39a88b08a" providerId="LiveId" clId="{24B61DD5-81B7-41F8-A7DC-70CAC367F49C}" dt="2023-06-05T04:11:49.881" v="3208" actId="21"/>
      <pc:docMkLst>
        <pc:docMk/>
      </pc:docMkLst>
      <pc:sldChg chg="del">
        <pc:chgData name="Tường SKHĐT" userId="ab9568c39a88b08a" providerId="LiveId" clId="{24B61DD5-81B7-41F8-A7DC-70CAC367F49C}" dt="2023-06-04T04:32:46.909" v="324" actId="2696"/>
        <pc:sldMkLst>
          <pc:docMk/>
          <pc:sldMk cId="2056297670" sldId="296"/>
        </pc:sldMkLst>
      </pc:sldChg>
      <pc:sldChg chg="modSp mod">
        <pc:chgData name="Tường SKHĐT" userId="ab9568c39a88b08a" providerId="LiveId" clId="{24B61DD5-81B7-41F8-A7DC-70CAC367F49C}" dt="2023-06-04T08:04:52.816" v="655" actId="1076"/>
        <pc:sldMkLst>
          <pc:docMk/>
          <pc:sldMk cId="1167827339" sldId="312"/>
        </pc:sldMkLst>
        <pc:spChg chg="mod">
          <ac:chgData name="Tường SKHĐT" userId="ab9568c39a88b08a" providerId="LiveId" clId="{24B61DD5-81B7-41F8-A7DC-70CAC367F49C}" dt="2023-06-04T08:04:03.273" v="626" actId="1076"/>
          <ac:spMkLst>
            <pc:docMk/>
            <pc:sldMk cId="1167827339" sldId="312"/>
            <ac:spMk id="3" creationId="{2A751374-679E-BBE1-94F7-C6E2AB871A48}"/>
          </ac:spMkLst>
        </pc:spChg>
        <pc:spChg chg="mod">
          <ac:chgData name="Tường SKHĐT" userId="ab9568c39a88b08a" providerId="LiveId" clId="{24B61DD5-81B7-41F8-A7DC-70CAC367F49C}" dt="2023-06-04T08:03:50.954" v="620" actId="14100"/>
          <ac:spMkLst>
            <pc:docMk/>
            <pc:sldMk cId="1167827339" sldId="312"/>
            <ac:spMk id="27" creationId="{7CD320CC-5365-5B76-06FE-1E9511129F1C}"/>
          </ac:spMkLst>
        </pc:spChg>
        <pc:spChg chg="mod">
          <ac:chgData name="Tường SKHĐT" userId="ab9568c39a88b08a" providerId="LiveId" clId="{24B61DD5-81B7-41F8-A7DC-70CAC367F49C}" dt="2023-06-04T08:04:32.618" v="646" actId="20577"/>
          <ac:spMkLst>
            <pc:docMk/>
            <pc:sldMk cId="1167827339" sldId="312"/>
            <ac:spMk id="28" creationId="{5BD82E29-7F38-7121-0BDE-4B57F6FB9C64}"/>
          </ac:spMkLst>
        </pc:spChg>
        <pc:spChg chg="mod">
          <ac:chgData name="Tường SKHĐT" userId="ab9568c39a88b08a" providerId="LiveId" clId="{24B61DD5-81B7-41F8-A7DC-70CAC367F49C}" dt="2023-06-04T08:04:37.505" v="654" actId="20577"/>
          <ac:spMkLst>
            <pc:docMk/>
            <pc:sldMk cId="1167827339" sldId="312"/>
            <ac:spMk id="29" creationId="{87785BE8-8D2C-34AD-3528-6DEFFB1C2187}"/>
          </ac:spMkLst>
        </pc:spChg>
        <pc:spChg chg="mod">
          <ac:chgData name="Tường SKHĐT" userId="ab9568c39a88b08a" providerId="LiveId" clId="{24B61DD5-81B7-41F8-A7DC-70CAC367F49C}" dt="2023-06-04T08:04:21.199" v="632" actId="1076"/>
          <ac:spMkLst>
            <pc:docMk/>
            <pc:sldMk cId="1167827339" sldId="312"/>
            <ac:spMk id="31" creationId="{1E109656-FAA0-49E2-E8DD-60239AF09A20}"/>
          </ac:spMkLst>
        </pc:spChg>
        <pc:spChg chg="mod">
          <ac:chgData name="Tường SKHĐT" userId="ab9568c39a88b08a" providerId="LiveId" clId="{24B61DD5-81B7-41F8-A7DC-70CAC367F49C}" dt="2023-06-04T08:04:52.816" v="655" actId="1076"/>
          <ac:spMkLst>
            <pc:docMk/>
            <pc:sldMk cId="1167827339" sldId="312"/>
            <ac:spMk id="32" creationId="{BA5DABAD-7DB7-85BC-1C62-09803A1F7DD6}"/>
          </ac:spMkLst>
        </pc:spChg>
        <pc:spChg chg="mod">
          <ac:chgData name="Tường SKHĐT" userId="ab9568c39a88b08a" providerId="LiveId" clId="{24B61DD5-81B7-41F8-A7DC-70CAC367F49C}" dt="2023-06-04T08:03:41.021" v="616" actId="404"/>
          <ac:spMkLst>
            <pc:docMk/>
            <pc:sldMk cId="1167827339" sldId="312"/>
            <ac:spMk id="37" creationId="{AD8E6693-4876-0F97-216B-C82F5C0BBF88}"/>
          </ac:spMkLst>
        </pc:spChg>
        <pc:spChg chg="mod">
          <ac:chgData name="Tường SKHĐT" userId="ab9568c39a88b08a" providerId="LiveId" clId="{24B61DD5-81B7-41F8-A7DC-70CAC367F49C}" dt="2023-06-04T08:03:20.902" v="606" actId="20577"/>
          <ac:spMkLst>
            <pc:docMk/>
            <pc:sldMk cId="1167827339" sldId="312"/>
            <ac:spMk id="39" creationId="{E730890D-28F6-AD79-64B4-53EDC9842AEC}"/>
          </ac:spMkLst>
        </pc:spChg>
        <pc:spChg chg="mod">
          <ac:chgData name="Tường SKHĐT" userId="ab9568c39a88b08a" providerId="LiveId" clId="{24B61DD5-81B7-41F8-A7DC-70CAC367F49C}" dt="2023-06-04T08:02:58.997" v="587" actId="403"/>
          <ac:spMkLst>
            <pc:docMk/>
            <pc:sldMk cId="1167827339" sldId="312"/>
            <ac:spMk id="42" creationId="{BB512797-5E5F-0EFF-B3C6-610776487614}"/>
          </ac:spMkLst>
        </pc:spChg>
        <pc:grpChg chg="mod">
          <ac:chgData name="Tường SKHĐT" userId="ab9568c39a88b08a" providerId="LiveId" clId="{24B61DD5-81B7-41F8-A7DC-70CAC367F49C}" dt="2023-06-04T08:03:05.270" v="588" actId="14100"/>
          <ac:grpSpMkLst>
            <pc:docMk/>
            <pc:sldMk cId="1167827339" sldId="312"/>
            <ac:grpSpMk id="44" creationId="{625077EF-140C-4D6F-E73A-0FB58A172694}"/>
          </ac:grpSpMkLst>
        </pc:grpChg>
        <pc:picChg chg="mod">
          <ac:chgData name="Tường SKHĐT" userId="ab9568c39a88b08a" providerId="LiveId" clId="{24B61DD5-81B7-41F8-A7DC-70CAC367F49C}" dt="2023-06-04T08:03:08.613" v="589" actId="1076"/>
          <ac:picMkLst>
            <pc:docMk/>
            <pc:sldMk cId="1167827339" sldId="312"/>
            <ac:picMk id="47" creationId="{CC005B64-750F-0970-3CD5-C7E58D330D2A}"/>
          </ac:picMkLst>
        </pc:picChg>
      </pc:sldChg>
      <pc:sldChg chg="modSp mod">
        <pc:chgData name="Tường SKHĐT" userId="ab9568c39a88b08a" providerId="LiveId" clId="{24B61DD5-81B7-41F8-A7DC-70CAC367F49C}" dt="2023-06-05T03:33:12.664" v="2272"/>
        <pc:sldMkLst>
          <pc:docMk/>
          <pc:sldMk cId="2016091477" sldId="608"/>
        </pc:sldMkLst>
        <pc:graphicFrameChg chg="mod">
          <ac:chgData name="Tường SKHĐT" userId="ab9568c39a88b08a" providerId="LiveId" clId="{24B61DD5-81B7-41F8-A7DC-70CAC367F49C}" dt="2023-06-05T03:33:12.664" v="2272"/>
          <ac:graphicFrameMkLst>
            <pc:docMk/>
            <pc:sldMk cId="2016091477" sldId="608"/>
            <ac:graphicFrameMk id="6" creationId="{00000000-0000-0000-0000-000000000000}"/>
          </ac:graphicFrameMkLst>
        </pc:graphicFrameChg>
      </pc:sldChg>
      <pc:sldChg chg="delSp modSp mod">
        <pc:chgData name="Tường SKHĐT" userId="ab9568c39a88b08a" providerId="LiveId" clId="{24B61DD5-81B7-41F8-A7DC-70CAC367F49C}" dt="2023-06-05T03:41:39.059" v="2397" actId="20577"/>
        <pc:sldMkLst>
          <pc:docMk/>
          <pc:sldMk cId="2802465441" sldId="2147473522"/>
        </pc:sldMkLst>
        <pc:graphicFrameChg chg="mod modGraphic">
          <ac:chgData name="Tường SKHĐT" userId="ab9568c39a88b08a" providerId="LiveId" clId="{24B61DD5-81B7-41F8-A7DC-70CAC367F49C}" dt="2023-06-05T03:41:39.059" v="2397" actId="20577"/>
          <ac:graphicFrameMkLst>
            <pc:docMk/>
            <pc:sldMk cId="2802465441" sldId="2147473522"/>
            <ac:graphicFrameMk id="9" creationId="{0FC7DBA8-03B5-1D5D-B7A1-68AA6F62DF7E}"/>
          </ac:graphicFrameMkLst>
        </pc:graphicFrameChg>
        <pc:picChg chg="del">
          <ac:chgData name="Tường SKHĐT" userId="ab9568c39a88b08a" providerId="LiveId" clId="{24B61DD5-81B7-41F8-A7DC-70CAC367F49C}" dt="2023-06-04T08:27:59.521" v="1316" actId="21"/>
          <ac:picMkLst>
            <pc:docMk/>
            <pc:sldMk cId="2802465441" sldId="2147473522"/>
            <ac:picMk id="3" creationId="{F1C86665-484F-794D-CFA7-5A2693500FE9}"/>
          </ac:picMkLst>
        </pc:picChg>
        <pc:picChg chg="del">
          <ac:chgData name="Tường SKHĐT" userId="ab9568c39a88b08a" providerId="LiveId" clId="{24B61DD5-81B7-41F8-A7DC-70CAC367F49C}" dt="2023-06-04T08:27:57.806" v="1315" actId="21"/>
          <ac:picMkLst>
            <pc:docMk/>
            <pc:sldMk cId="2802465441" sldId="2147473522"/>
            <ac:picMk id="8" creationId="{F0A73329-AE20-B910-E169-A74500C6FEB7}"/>
          </ac:picMkLst>
        </pc:picChg>
        <pc:picChg chg="del">
          <ac:chgData name="Tường SKHĐT" userId="ab9568c39a88b08a" providerId="LiveId" clId="{24B61DD5-81B7-41F8-A7DC-70CAC367F49C}" dt="2023-06-04T08:27:56.014" v="1314" actId="21"/>
          <ac:picMkLst>
            <pc:docMk/>
            <pc:sldMk cId="2802465441" sldId="2147473522"/>
            <ac:picMk id="10" creationId="{CFBFB6E7-96C3-05D1-23B2-B45C626CE989}"/>
          </ac:picMkLst>
        </pc:picChg>
      </pc:sldChg>
      <pc:sldChg chg="addSp delSp modSp add mod modAnim">
        <pc:chgData name="Tường SKHĐT" userId="ab9568c39a88b08a" providerId="LiveId" clId="{24B61DD5-81B7-41F8-A7DC-70CAC367F49C}" dt="2023-06-05T03:46:33.688" v="2588" actId="1076"/>
        <pc:sldMkLst>
          <pc:docMk/>
          <pc:sldMk cId="664381054" sldId="2147473536"/>
        </pc:sldMkLst>
        <pc:spChg chg="add del mod">
          <ac:chgData name="Tường SKHĐT" userId="ab9568c39a88b08a" providerId="LiveId" clId="{24B61DD5-81B7-41F8-A7DC-70CAC367F49C}" dt="2023-06-05T03:42:42.737" v="2401"/>
          <ac:spMkLst>
            <pc:docMk/>
            <pc:sldMk cId="664381054" sldId="2147473536"/>
            <ac:spMk id="4" creationId="{3BEF42E1-D96A-7D7C-6519-501E25B6F3C7}"/>
          </ac:spMkLst>
        </pc:spChg>
        <pc:spChg chg="del mod">
          <ac:chgData name="Tường SKHĐT" userId="ab9568c39a88b08a" providerId="LiveId" clId="{24B61DD5-81B7-41F8-A7DC-70CAC367F49C}" dt="2023-06-05T03:33:30.727" v="2274" actId="21"/>
          <ac:spMkLst>
            <pc:docMk/>
            <pc:sldMk cId="664381054" sldId="2147473536"/>
            <ac:spMk id="5" creationId="{A5E63777-D9B0-CC7C-4534-85577A499B18}"/>
          </ac:spMkLst>
        </pc:spChg>
        <pc:spChg chg="add mod">
          <ac:chgData name="Tường SKHĐT" userId="ab9568c39a88b08a" providerId="LiveId" clId="{24B61DD5-81B7-41F8-A7DC-70CAC367F49C}" dt="2023-06-05T03:45:24.942" v="2576" actId="113"/>
          <ac:spMkLst>
            <pc:docMk/>
            <pc:sldMk cId="664381054" sldId="2147473536"/>
            <ac:spMk id="9" creationId="{F65198A7-A118-3199-D245-9517CFA4BF98}"/>
          </ac:spMkLst>
        </pc:spChg>
        <pc:spChg chg="add mod">
          <ac:chgData name="Tường SKHĐT" userId="ab9568c39a88b08a" providerId="LiveId" clId="{24B61DD5-81B7-41F8-A7DC-70CAC367F49C}" dt="2023-06-05T03:46:33.688" v="2588" actId="1076"/>
          <ac:spMkLst>
            <pc:docMk/>
            <pc:sldMk cId="664381054" sldId="2147473536"/>
            <ac:spMk id="11" creationId="{C5CB5686-CC5E-0FCE-8C42-0C188F5995E9}"/>
          </ac:spMkLst>
        </pc:spChg>
        <pc:spChg chg="mod">
          <ac:chgData name="Tường SKHĐT" userId="ab9568c39a88b08a" providerId="LiveId" clId="{24B61DD5-81B7-41F8-A7DC-70CAC367F49C}" dt="2023-06-05T03:33:44.792" v="2280" actId="14100"/>
          <ac:spMkLst>
            <pc:docMk/>
            <pc:sldMk cId="664381054" sldId="2147473536"/>
            <ac:spMk id="13" creationId="{8BA917FC-5F9B-C148-956E-1F8894C8762A}"/>
          </ac:spMkLst>
        </pc:spChg>
        <pc:graphicFrameChg chg="add del mod">
          <ac:chgData name="Tường SKHĐT" userId="ab9568c39a88b08a" providerId="LiveId" clId="{24B61DD5-81B7-41F8-A7DC-70CAC367F49C}" dt="2023-06-05T03:42:42.737" v="2401"/>
          <ac:graphicFrameMkLst>
            <pc:docMk/>
            <pc:sldMk cId="664381054" sldId="2147473536"/>
            <ac:graphicFrameMk id="2" creationId="{3E93DE92-849F-F22C-0746-FC71FAB3DF36}"/>
          </ac:graphicFrameMkLst>
        </pc:graphicFrameChg>
        <pc:graphicFrameChg chg="add del mod">
          <ac:chgData name="Tường SKHĐT" userId="ab9568c39a88b08a" providerId="LiveId" clId="{24B61DD5-81B7-41F8-A7DC-70CAC367F49C}" dt="2023-06-05T03:42:42.737" v="2401"/>
          <ac:graphicFrameMkLst>
            <pc:docMk/>
            <pc:sldMk cId="664381054" sldId="2147473536"/>
            <ac:graphicFrameMk id="3" creationId="{6704CF02-48BA-8464-113D-6AAB245D51FF}"/>
          </ac:graphicFrameMkLst>
        </pc:graphicFrameChg>
        <pc:graphicFrameChg chg="mod modGraphic">
          <ac:chgData name="Tường SKHĐT" userId="ab9568c39a88b08a" providerId="LiveId" clId="{24B61DD5-81B7-41F8-A7DC-70CAC367F49C}" dt="2023-06-05T03:46:22.999" v="2586" actId="1076"/>
          <ac:graphicFrameMkLst>
            <pc:docMk/>
            <pc:sldMk cId="664381054" sldId="2147473536"/>
            <ac:graphicFrameMk id="6" creationId="{00000000-0000-0000-0000-000000000000}"/>
          </ac:graphicFrameMkLst>
        </pc:graphicFrameChg>
        <pc:graphicFrameChg chg="del">
          <ac:chgData name="Tường SKHĐT" userId="ab9568c39a88b08a" providerId="LiveId" clId="{24B61DD5-81B7-41F8-A7DC-70CAC367F49C}" dt="2023-06-05T03:42:37.158" v="2399" actId="21"/>
          <ac:graphicFrameMkLst>
            <pc:docMk/>
            <pc:sldMk cId="664381054" sldId="2147473536"/>
            <ac:graphicFrameMk id="12" creationId="{CC3750B6-684E-2355-6101-736BF658C17F}"/>
          </ac:graphicFrameMkLst>
        </pc:graphicFrameChg>
        <pc:picChg chg="add mod">
          <ac:chgData name="Tường SKHĐT" userId="ab9568c39a88b08a" providerId="LiveId" clId="{24B61DD5-81B7-41F8-A7DC-70CAC367F49C}" dt="2023-06-05T03:43:58.786" v="2409" actId="1076"/>
          <ac:picMkLst>
            <pc:docMk/>
            <pc:sldMk cId="664381054" sldId="2147473536"/>
            <ac:picMk id="8" creationId="{3FAC6445-5105-E4C2-759A-3C778488EAD8}"/>
          </ac:picMkLst>
        </pc:picChg>
        <pc:cxnChg chg="del">
          <ac:chgData name="Tường SKHĐT" userId="ab9568c39a88b08a" providerId="LiveId" clId="{24B61DD5-81B7-41F8-A7DC-70CAC367F49C}" dt="2023-06-05T03:33:32.005" v="2275" actId="21"/>
          <ac:cxnSpMkLst>
            <pc:docMk/>
            <pc:sldMk cId="664381054" sldId="2147473536"/>
            <ac:cxnSpMk id="10" creationId="{9923AE74-1EB9-B8B8-7F10-C195957B00FF}"/>
          </ac:cxnSpMkLst>
        </pc:cxnChg>
      </pc:sldChg>
      <pc:sldChg chg="modSp">
        <pc:chgData name="Tường SKHĐT" userId="ab9568c39a88b08a" providerId="LiveId" clId="{24B61DD5-81B7-41F8-A7DC-70CAC367F49C}" dt="2023-06-05T04:10:55.493" v="3198" actId="12"/>
        <pc:sldMkLst>
          <pc:docMk/>
          <pc:sldMk cId="1168642509" sldId="2147473537"/>
        </pc:sldMkLst>
        <pc:spChg chg="mod">
          <ac:chgData name="Tường SKHĐT" userId="ab9568c39a88b08a" providerId="LiveId" clId="{24B61DD5-81B7-41F8-A7DC-70CAC367F49C}" dt="2023-06-05T04:10:55.493" v="3198" actId="12"/>
          <ac:spMkLst>
            <pc:docMk/>
            <pc:sldMk cId="1168642509" sldId="2147473537"/>
            <ac:spMk id="2" creationId="{A49FA47D-1679-133E-0301-5CFB76FC4F8D}"/>
          </ac:spMkLst>
        </pc:spChg>
      </pc:sldChg>
      <pc:sldChg chg="modSp mod">
        <pc:chgData name="Tường SKHĐT" userId="ab9568c39a88b08a" providerId="LiveId" clId="{24B61DD5-81B7-41F8-A7DC-70CAC367F49C}" dt="2023-06-05T04:10:35.378" v="3194" actId="12"/>
        <pc:sldMkLst>
          <pc:docMk/>
          <pc:sldMk cId="2553187395" sldId="2147473539"/>
        </pc:sldMkLst>
        <pc:spChg chg="mod">
          <ac:chgData name="Tường SKHĐT" userId="ab9568c39a88b08a" providerId="LiveId" clId="{24B61DD5-81B7-41F8-A7DC-70CAC367F49C}" dt="2023-06-05T04:10:35.378" v="3194" actId="12"/>
          <ac:spMkLst>
            <pc:docMk/>
            <pc:sldMk cId="2553187395" sldId="2147473539"/>
            <ac:spMk id="2" creationId="{A49FA47D-1679-133E-0301-5CFB76FC4F8D}"/>
          </ac:spMkLst>
        </pc:spChg>
      </pc:sldChg>
      <pc:sldChg chg="modSp mod">
        <pc:chgData name="Tường SKHĐT" userId="ab9568c39a88b08a" providerId="LiveId" clId="{24B61DD5-81B7-41F8-A7DC-70CAC367F49C}" dt="2023-06-05T03:54:26.719" v="2600" actId="20577"/>
        <pc:sldMkLst>
          <pc:docMk/>
          <pc:sldMk cId="1786243308" sldId="2147473545"/>
        </pc:sldMkLst>
        <pc:graphicFrameChg chg="mod modGraphic">
          <ac:chgData name="Tường SKHĐT" userId="ab9568c39a88b08a" providerId="LiveId" clId="{24B61DD5-81B7-41F8-A7DC-70CAC367F49C}" dt="2023-06-05T03:54:26.719" v="2600" actId="20577"/>
          <ac:graphicFrameMkLst>
            <pc:docMk/>
            <pc:sldMk cId="1786243308" sldId="2147473545"/>
            <ac:graphicFrameMk id="8" creationId="{B5E5335D-2EED-82AF-3A59-FAE8BB94EAE1}"/>
          </ac:graphicFrameMkLst>
        </pc:graphicFrameChg>
      </pc:sldChg>
      <pc:sldChg chg="addSp delSp modSp add mod">
        <pc:chgData name="Tường SKHĐT" userId="ab9568c39a88b08a" providerId="LiveId" clId="{24B61DD5-81B7-41F8-A7DC-70CAC367F49C}" dt="2023-06-05T02:15:16.085" v="2004" actId="1076"/>
        <pc:sldMkLst>
          <pc:docMk/>
          <pc:sldMk cId="397313561" sldId="2147473547"/>
        </pc:sldMkLst>
        <pc:spChg chg="add mod">
          <ac:chgData name="Tường SKHĐT" userId="ab9568c39a88b08a" providerId="LiveId" clId="{24B61DD5-81B7-41F8-A7DC-70CAC367F49C}" dt="2023-06-05T02:15:08.925" v="2002" actId="1076"/>
          <ac:spMkLst>
            <pc:docMk/>
            <pc:sldMk cId="397313561" sldId="2147473547"/>
            <ac:spMk id="2" creationId="{EE8CB48F-970D-5112-81B2-029AA760C6DA}"/>
          </ac:spMkLst>
        </pc:spChg>
        <pc:spChg chg="del">
          <ac:chgData name="Tường SKHĐT" userId="ab9568c39a88b08a" providerId="LiveId" clId="{24B61DD5-81B7-41F8-A7DC-70CAC367F49C}" dt="2023-06-05T02:14:35.576" v="1996" actId="21"/>
          <ac:spMkLst>
            <pc:docMk/>
            <pc:sldMk cId="397313561" sldId="2147473547"/>
            <ac:spMk id="3" creationId="{68F566EC-ECDF-1812-24EA-FDD2B5F92E41}"/>
          </ac:spMkLst>
        </pc:spChg>
        <pc:spChg chg="del">
          <ac:chgData name="Tường SKHĐT" userId="ab9568c39a88b08a" providerId="LiveId" clId="{24B61DD5-81B7-41F8-A7DC-70CAC367F49C}" dt="2023-06-05T02:14:35.576" v="1996" actId="21"/>
          <ac:spMkLst>
            <pc:docMk/>
            <pc:sldMk cId="397313561" sldId="2147473547"/>
            <ac:spMk id="4" creationId="{16D24723-A233-03FF-2329-1817AB93339D}"/>
          </ac:spMkLst>
        </pc:spChg>
        <pc:spChg chg="add del mod">
          <ac:chgData name="Tường SKHĐT" userId="ab9568c39a88b08a" providerId="LiveId" clId="{24B61DD5-81B7-41F8-A7DC-70CAC367F49C}" dt="2023-06-05T02:14:57.464" v="1998" actId="21"/>
          <ac:spMkLst>
            <pc:docMk/>
            <pc:sldMk cId="397313561" sldId="2147473547"/>
            <ac:spMk id="5" creationId="{5D81B148-B5D9-E0E2-4AD6-484EDE4DDBD9}"/>
          </ac:spMkLst>
        </pc:spChg>
        <pc:spChg chg="mod">
          <ac:chgData name="Tường SKHĐT" userId="ab9568c39a88b08a" providerId="LiveId" clId="{24B61DD5-81B7-41F8-A7DC-70CAC367F49C}" dt="2023-06-05T02:15:16.085" v="2004" actId="1076"/>
          <ac:spMkLst>
            <pc:docMk/>
            <pc:sldMk cId="397313561" sldId="2147473547"/>
            <ac:spMk id="11" creationId="{3007B833-D772-D3A8-1664-582536F2954A}"/>
          </ac:spMkLst>
        </pc:spChg>
        <pc:picChg chg="mod">
          <ac:chgData name="Tường SKHĐT" userId="ab9568c39a88b08a" providerId="LiveId" clId="{24B61DD5-81B7-41F8-A7DC-70CAC367F49C}" dt="2023-06-05T02:15:13.155" v="2003" actId="14100"/>
          <ac:picMkLst>
            <pc:docMk/>
            <pc:sldMk cId="397313561" sldId="2147473547"/>
            <ac:picMk id="7" creationId="{61B458B2-ABEE-0E4C-31F7-5318B2296E94}"/>
          </ac:picMkLst>
        </pc:picChg>
        <pc:cxnChg chg="del">
          <ac:chgData name="Tường SKHĐT" userId="ab9568c39a88b08a" providerId="LiveId" clId="{24B61DD5-81B7-41F8-A7DC-70CAC367F49C}" dt="2023-06-05T02:14:35.576" v="1996" actId="21"/>
          <ac:cxnSpMkLst>
            <pc:docMk/>
            <pc:sldMk cId="397313561" sldId="2147473547"/>
            <ac:cxnSpMk id="6" creationId="{FF705920-E1B4-B4D0-9EA4-A27AA5761577}"/>
          </ac:cxnSpMkLst>
        </pc:cxnChg>
      </pc:sldChg>
      <pc:sldChg chg="modSp mod">
        <pc:chgData name="Tường SKHĐT" userId="ab9568c39a88b08a" providerId="LiveId" clId="{24B61DD5-81B7-41F8-A7DC-70CAC367F49C}" dt="2023-06-04T04:34:41.901" v="356" actId="20577"/>
        <pc:sldMkLst>
          <pc:docMk/>
          <pc:sldMk cId="1783682046" sldId="2147473574"/>
        </pc:sldMkLst>
        <pc:graphicFrameChg chg="modGraphic">
          <ac:chgData name="Tường SKHĐT" userId="ab9568c39a88b08a" providerId="LiveId" clId="{24B61DD5-81B7-41F8-A7DC-70CAC367F49C}" dt="2023-06-04T04:34:41.901" v="356" actId="20577"/>
          <ac:graphicFrameMkLst>
            <pc:docMk/>
            <pc:sldMk cId="1783682046" sldId="2147473574"/>
            <ac:graphicFrameMk id="8" creationId="{B5E5335D-2EED-82AF-3A59-FAE8BB94EAE1}"/>
          </ac:graphicFrameMkLst>
        </pc:graphicFrameChg>
      </pc:sldChg>
      <pc:sldChg chg="addSp delSp modSp mod">
        <pc:chgData name="Tường SKHĐT" userId="ab9568c39a88b08a" providerId="LiveId" clId="{24B61DD5-81B7-41F8-A7DC-70CAC367F49C}" dt="2023-06-05T04:10:49.472" v="3197" actId="12"/>
        <pc:sldMkLst>
          <pc:docMk/>
          <pc:sldMk cId="2835104792" sldId="2147473580"/>
        </pc:sldMkLst>
        <pc:spChg chg="mod">
          <ac:chgData name="Tường SKHĐT" userId="ab9568c39a88b08a" providerId="LiveId" clId="{24B61DD5-81B7-41F8-A7DC-70CAC367F49C}" dt="2023-06-05T04:10:49.472" v="3197" actId="12"/>
          <ac:spMkLst>
            <pc:docMk/>
            <pc:sldMk cId="2835104792" sldId="2147473580"/>
            <ac:spMk id="11" creationId="{7E2CE505-A30B-BB03-1C76-24E8431A366B}"/>
          </ac:spMkLst>
        </pc:spChg>
        <pc:picChg chg="add mod">
          <ac:chgData name="Tường SKHĐT" userId="ab9568c39a88b08a" providerId="LiveId" clId="{24B61DD5-81B7-41F8-A7DC-70CAC367F49C}" dt="2023-06-04T04:13:41.179" v="224" actId="14100"/>
          <ac:picMkLst>
            <pc:docMk/>
            <pc:sldMk cId="2835104792" sldId="2147473580"/>
            <ac:picMk id="2" creationId="{C80825AB-D68F-703E-276A-23A5BBC67D2E}"/>
          </ac:picMkLst>
        </pc:picChg>
        <pc:picChg chg="del">
          <ac:chgData name="Tường SKHĐT" userId="ab9568c39a88b08a" providerId="LiveId" clId="{24B61DD5-81B7-41F8-A7DC-70CAC367F49C}" dt="2023-06-04T04:13:03.755" v="214" actId="21"/>
          <ac:picMkLst>
            <pc:docMk/>
            <pc:sldMk cId="2835104792" sldId="2147473580"/>
            <ac:picMk id="3" creationId="{0FFE35E4-3462-E898-CC1D-E8393F34004C}"/>
          </ac:picMkLst>
        </pc:picChg>
        <pc:picChg chg="mod">
          <ac:chgData name="Tường SKHĐT" userId="ab9568c39a88b08a" providerId="LiveId" clId="{24B61DD5-81B7-41F8-A7DC-70CAC367F49C}" dt="2023-06-04T04:13:13.399" v="218" actId="14100"/>
          <ac:picMkLst>
            <pc:docMk/>
            <pc:sldMk cId="2835104792" sldId="2147473580"/>
            <ac:picMk id="5" creationId="{397635BC-4AA2-B44A-F88B-2E47489DA335}"/>
          </ac:picMkLst>
        </pc:picChg>
        <pc:picChg chg="mod">
          <ac:chgData name="Tường SKHĐT" userId="ab9568c39a88b08a" providerId="LiveId" clId="{24B61DD5-81B7-41F8-A7DC-70CAC367F49C}" dt="2023-06-04T04:13:11.744" v="217" actId="14100"/>
          <ac:picMkLst>
            <pc:docMk/>
            <pc:sldMk cId="2835104792" sldId="2147473580"/>
            <ac:picMk id="10" creationId="{6C3F29D3-A8DF-868D-2F9A-C55475DA40F5}"/>
          </ac:picMkLst>
        </pc:picChg>
      </pc:sldChg>
      <pc:sldChg chg="modSp">
        <pc:chgData name="Tường SKHĐT" userId="ab9568c39a88b08a" providerId="LiveId" clId="{24B61DD5-81B7-41F8-A7DC-70CAC367F49C}" dt="2023-06-05T04:10:42.121" v="3196" actId="404"/>
        <pc:sldMkLst>
          <pc:docMk/>
          <pc:sldMk cId="2155607679" sldId="2147473581"/>
        </pc:sldMkLst>
        <pc:spChg chg="mod">
          <ac:chgData name="Tường SKHĐT" userId="ab9568c39a88b08a" providerId="LiveId" clId="{24B61DD5-81B7-41F8-A7DC-70CAC367F49C}" dt="2023-06-05T04:10:42.121" v="3196" actId="404"/>
          <ac:spMkLst>
            <pc:docMk/>
            <pc:sldMk cId="2155607679" sldId="2147473581"/>
            <ac:spMk id="2" creationId="{A49FA47D-1679-133E-0301-5CFB76FC4F8D}"/>
          </ac:spMkLst>
        </pc:spChg>
      </pc:sldChg>
      <pc:sldChg chg="modSp mod">
        <pc:chgData name="Tường SKHĐT" userId="ab9568c39a88b08a" providerId="LiveId" clId="{24B61DD5-81B7-41F8-A7DC-70CAC367F49C}" dt="2023-06-05T04:10:27.188" v="3193" actId="12"/>
        <pc:sldMkLst>
          <pc:docMk/>
          <pc:sldMk cId="1163171153" sldId="2147473582"/>
        </pc:sldMkLst>
        <pc:spChg chg="mod">
          <ac:chgData name="Tường SKHĐT" userId="ab9568c39a88b08a" providerId="LiveId" clId="{24B61DD5-81B7-41F8-A7DC-70CAC367F49C}" dt="2023-06-05T04:10:27.188" v="3193" actId="12"/>
          <ac:spMkLst>
            <pc:docMk/>
            <pc:sldMk cId="1163171153" sldId="2147473582"/>
            <ac:spMk id="2" creationId="{A49FA47D-1679-133E-0301-5CFB76FC4F8D}"/>
          </ac:spMkLst>
        </pc:spChg>
        <pc:graphicFrameChg chg="mod">
          <ac:chgData name="Tường SKHĐT" userId="ab9568c39a88b08a" providerId="LiveId" clId="{24B61DD5-81B7-41F8-A7DC-70CAC367F49C}" dt="2023-06-05T04:10:15.863" v="3190" actId="1076"/>
          <ac:graphicFrameMkLst>
            <pc:docMk/>
            <pc:sldMk cId="1163171153" sldId="2147473582"/>
            <ac:graphicFrameMk id="13" creationId="{BA133DC1-3B7F-1EF5-AC03-623DAED491B9}"/>
          </ac:graphicFrameMkLst>
        </pc:graphicFrameChg>
        <pc:picChg chg="mod">
          <ac:chgData name="Tường SKHĐT" userId="ab9568c39a88b08a" providerId="LiveId" clId="{24B61DD5-81B7-41F8-A7DC-70CAC367F49C}" dt="2023-06-05T04:10:17.833" v="3191" actId="1076"/>
          <ac:picMkLst>
            <pc:docMk/>
            <pc:sldMk cId="1163171153" sldId="2147473582"/>
            <ac:picMk id="5" creationId="{36D40177-B5F5-4CD7-89E9-D49ADE361564}"/>
          </ac:picMkLst>
        </pc:picChg>
        <pc:picChg chg="mod">
          <ac:chgData name="Tường SKHĐT" userId="ab9568c39a88b08a" providerId="LiveId" clId="{24B61DD5-81B7-41F8-A7DC-70CAC367F49C}" dt="2023-06-05T04:10:19.396" v="3192" actId="1076"/>
          <ac:picMkLst>
            <pc:docMk/>
            <pc:sldMk cId="1163171153" sldId="2147473582"/>
            <ac:picMk id="8" creationId="{83D3B8D5-360E-E1E0-FC28-3F5272FBAFB5}"/>
          </ac:picMkLst>
        </pc:picChg>
      </pc:sldChg>
      <pc:sldChg chg="delSp modSp mod">
        <pc:chgData name="Tường SKHĐT" userId="ab9568c39a88b08a" providerId="LiveId" clId="{24B61DD5-81B7-41F8-A7DC-70CAC367F49C}" dt="2023-06-05T04:09:59.742" v="3189" actId="12"/>
        <pc:sldMkLst>
          <pc:docMk/>
          <pc:sldMk cId="740355695" sldId="2147473583"/>
        </pc:sldMkLst>
        <pc:spChg chg="mod">
          <ac:chgData name="Tường SKHĐT" userId="ab9568c39a88b08a" providerId="LiveId" clId="{24B61DD5-81B7-41F8-A7DC-70CAC367F49C}" dt="2023-06-05T04:09:59.742" v="3189" actId="12"/>
          <ac:spMkLst>
            <pc:docMk/>
            <pc:sldMk cId="740355695" sldId="2147473583"/>
            <ac:spMk id="3" creationId="{F4077AF3-E87B-6ED3-C32E-F690520025FC}"/>
          </ac:spMkLst>
        </pc:spChg>
        <pc:graphicFrameChg chg="mod">
          <ac:chgData name="Tường SKHĐT" userId="ab9568c39a88b08a" providerId="LiveId" clId="{24B61DD5-81B7-41F8-A7DC-70CAC367F49C}" dt="2023-06-05T04:09:48.920" v="3185" actId="1076"/>
          <ac:graphicFrameMkLst>
            <pc:docMk/>
            <pc:sldMk cId="740355695" sldId="2147473583"/>
            <ac:graphicFrameMk id="6" creationId="{00000000-0000-0000-0000-000000000000}"/>
          </ac:graphicFrameMkLst>
        </pc:graphicFrameChg>
        <pc:picChg chg="del">
          <ac:chgData name="Tường SKHĐT" userId="ab9568c39a88b08a" providerId="LiveId" clId="{24B61DD5-81B7-41F8-A7DC-70CAC367F49C}" dt="2023-06-05T04:09:53.084" v="3187" actId="21"/>
          <ac:picMkLst>
            <pc:docMk/>
            <pc:sldMk cId="740355695" sldId="2147473583"/>
            <ac:picMk id="4" creationId="{94FD441F-A561-21F1-AE1E-AA9521385587}"/>
          </ac:picMkLst>
        </pc:picChg>
        <pc:picChg chg="del">
          <ac:chgData name="Tường SKHĐT" userId="ab9568c39a88b08a" providerId="LiveId" clId="{24B61DD5-81B7-41F8-A7DC-70CAC367F49C}" dt="2023-06-05T04:09:51.443" v="3186" actId="21"/>
          <ac:picMkLst>
            <pc:docMk/>
            <pc:sldMk cId="740355695" sldId="2147473583"/>
            <ac:picMk id="10" creationId="{857D0205-743C-819E-EEA6-3EBA1A6B2707}"/>
          </ac:picMkLst>
        </pc:picChg>
      </pc:sldChg>
      <pc:sldChg chg="modSp">
        <pc:chgData name="Tường SKHĐT" userId="ab9568c39a88b08a" providerId="LiveId" clId="{24B61DD5-81B7-41F8-A7DC-70CAC367F49C}" dt="2023-06-04T07:53:45.963" v="447" actId="20577"/>
        <pc:sldMkLst>
          <pc:docMk/>
          <pc:sldMk cId="3397864268" sldId="2147473590"/>
        </pc:sldMkLst>
        <pc:spChg chg="mod">
          <ac:chgData name="Tường SKHĐT" userId="ab9568c39a88b08a" providerId="LiveId" clId="{24B61DD5-81B7-41F8-A7DC-70CAC367F49C}" dt="2023-06-04T07:53:45.963" v="447" actId="20577"/>
          <ac:spMkLst>
            <pc:docMk/>
            <pc:sldMk cId="3397864268" sldId="2147473590"/>
            <ac:spMk id="10" creationId="{8124D21E-909E-1450-16D0-117CABF0D840}"/>
          </ac:spMkLst>
        </pc:spChg>
      </pc:sldChg>
      <pc:sldChg chg="modSp mod">
        <pc:chgData name="Tường SKHĐT" userId="ab9568c39a88b08a" providerId="LiveId" clId="{24B61DD5-81B7-41F8-A7DC-70CAC367F49C}" dt="2023-06-04T09:00:09.854" v="1604" actId="1076"/>
        <pc:sldMkLst>
          <pc:docMk/>
          <pc:sldMk cId="2171956986" sldId="2147473620"/>
        </pc:sldMkLst>
        <pc:spChg chg="mod">
          <ac:chgData name="Tường SKHĐT" userId="ab9568c39a88b08a" providerId="LiveId" clId="{24B61DD5-81B7-41F8-A7DC-70CAC367F49C}" dt="2023-06-04T09:00:09.854" v="1604" actId="1076"/>
          <ac:spMkLst>
            <pc:docMk/>
            <pc:sldMk cId="2171956986" sldId="2147473620"/>
            <ac:spMk id="11" creationId="{6220529F-F711-0C6B-EEFD-3905ECF34CAE}"/>
          </ac:spMkLst>
        </pc:spChg>
        <pc:graphicFrameChg chg="mod">
          <ac:chgData name="Tường SKHĐT" userId="ab9568c39a88b08a" providerId="LiveId" clId="{24B61DD5-81B7-41F8-A7DC-70CAC367F49C}" dt="2023-06-04T08:59:38.061" v="1590" actId="20577"/>
          <ac:graphicFrameMkLst>
            <pc:docMk/>
            <pc:sldMk cId="2171956986" sldId="2147473620"/>
            <ac:graphicFrameMk id="6" creationId="{00000000-0000-0000-0000-000000000000}"/>
          </ac:graphicFrameMkLst>
        </pc:graphicFrameChg>
      </pc:sldChg>
      <pc:sldChg chg="modSp mod">
        <pc:chgData name="Tường SKHĐT" userId="ab9568c39a88b08a" providerId="LiveId" clId="{24B61DD5-81B7-41F8-A7DC-70CAC367F49C}" dt="2023-06-05T03:32:34.335" v="2262"/>
        <pc:sldMkLst>
          <pc:docMk/>
          <pc:sldMk cId="1387142198" sldId="2147473622"/>
        </pc:sldMkLst>
        <pc:graphicFrameChg chg="mod">
          <ac:chgData name="Tường SKHĐT" userId="ab9568c39a88b08a" providerId="LiveId" clId="{24B61DD5-81B7-41F8-A7DC-70CAC367F49C}" dt="2023-06-05T03:32:34.335" v="2262"/>
          <ac:graphicFrameMkLst>
            <pc:docMk/>
            <pc:sldMk cId="1387142198" sldId="2147473622"/>
            <ac:graphicFrameMk id="6" creationId="{00000000-0000-0000-0000-000000000000}"/>
          </ac:graphicFrameMkLst>
        </pc:graphicFrameChg>
      </pc:sldChg>
      <pc:sldChg chg="del">
        <pc:chgData name="Tường SKHĐT" userId="ab9568c39a88b08a" providerId="LiveId" clId="{24B61DD5-81B7-41F8-A7DC-70CAC367F49C}" dt="2023-06-04T08:59:22.083" v="1516" actId="2696"/>
        <pc:sldMkLst>
          <pc:docMk/>
          <pc:sldMk cId="831685957" sldId="2147473634"/>
        </pc:sldMkLst>
      </pc:sldChg>
      <pc:sldChg chg="del">
        <pc:chgData name="Tường SKHĐT" userId="ab9568c39a88b08a" providerId="LiveId" clId="{24B61DD5-81B7-41F8-A7DC-70CAC367F49C}" dt="2023-06-04T04:00:26.912" v="34" actId="2696"/>
        <pc:sldMkLst>
          <pc:docMk/>
          <pc:sldMk cId="1686249856" sldId="2147473647"/>
        </pc:sldMkLst>
      </pc:sldChg>
      <pc:sldChg chg="del">
        <pc:chgData name="Tường SKHĐT" userId="ab9568c39a88b08a" providerId="LiveId" clId="{24B61DD5-81B7-41F8-A7DC-70CAC367F49C}" dt="2023-06-04T09:13:46.818" v="1783" actId="2696"/>
        <pc:sldMkLst>
          <pc:docMk/>
          <pc:sldMk cId="3727718023" sldId="2147473658"/>
        </pc:sldMkLst>
      </pc:sldChg>
      <pc:sldChg chg="del">
        <pc:chgData name="Tường SKHĐT" userId="ab9568c39a88b08a" providerId="LiveId" clId="{24B61DD5-81B7-41F8-A7DC-70CAC367F49C}" dt="2023-06-04T04:30:41.383" v="271" actId="2696"/>
        <pc:sldMkLst>
          <pc:docMk/>
          <pc:sldMk cId="1822202143" sldId="2147473665"/>
        </pc:sldMkLst>
      </pc:sldChg>
      <pc:sldChg chg="addSp delSp modSp mod">
        <pc:chgData name="Tường SKHĐT" userId="ab9568c39a88b08a" providerId="LiveId" clId="{24B61DD5-81B7-41F8-A7DC-70CAC367F49C}" dt="2023-06-05T04:03:47.861" v="3073" actId="1076"/>
        <pc:sldMkLst>
          <pc:docMk/>
          <pc:sldMk cId="635207881" sldId="2147473670"/>
        </pc:sldMkLst>
        <pc:spChg chg="del">
          <ac:chgData name="Tường SKHĐT" userId="ab9568c39a88b08a" providerId="LiveId" clId="{24B61DD5-81B7-41F8-A7DC-70CAC367F49C}" dt="2023-06-04T09:07:01.468" v="1615" actId="21"/>
          <ac:spMkLst>
            <pc:docMk/>
            <pc:sldMk cId="635207881" sldId="2147473670"/>
            <ac:spMk id="5" creationId="{28347602-FDB0-46C8-29EB-B0A21F5E71F1}"/>
          </ac:spMkLst>
        </pc:spChg>
        <pc:spChg chg="add del mod">
          <ac:chgData name="Tường SKHĐT" userId="ab9568c39a88b08a" providerId="LiveId" clId="{24B61DD5-81B7-41F8-A7DC-70CAC367F49C}" dt="2023-06-04T09:08:06.309" v="1664" actId="21"/>
          <ac:spMkLst>
            <pc:docMk/>
            <pc:sldMk cId="635207881" sldId="2147473670"/>
            <ac:spMk id="6" creationId="{81D40E1E-E472-56C2-7A52-1D68B78E001A}"/>
          </ac:spMkLst>
        </pc:spChg>
        <pc:spChg chg="add mod">
          <ac:chgData name="Tường SKHĐT" userId="ab9568c39a88b08a" providerId="LiveId" clId="{24B61DD5-81B7-41F8-A7DC-70CAC367F49C}" dt="2023-06-04T09:09:12.268" v="1677"/>
          <ac:spMkLst>
            <pc:docMk/>
            <pc:sldMk cId="635207881" sldId="2147473670"/>
            <ac:spMk id="7" creationId="{ACBD9817-7C26-4351-4F99-4699D41AD9E3}"/>
          </ac:spMkLst>
        </pc:spChg>
        <pc:spChg chg="mod">
          <ac:chgData name="Tường SKHĐT" userId="ab9568c39a88b08a" providerId="LiveId" clId="{24B61DD5-81B7-41F8-A7DC-70CAC367F49C}" dt="2023-06-04T09:07:17.561" v="1619" actId="1076"/>
          <ac:spMkLst>
            <pc:docMk/>
            <pc:sldMk cId="635207881" sldId="2147473670"/>
            <ac:spMk id="12" creationId="{9770937D-1377-CC7E-CF4C-63302C488F3E}"/>
          </ac:spMkLst>
        </pc:spChg>
        <pc:graphicFrameChg chg="add mod modGraphic">
          <ac:chgData name="Tường SKHĐT" userId="ab9568c39a88b08a" providerId="LiveId" clId="{24B61DD5-81B7-41F8-A7DC-70CAC367F49C}" dt="2023-06-04T09:32:12.951" v="1811"/>
          <ac:graphicFrameMkLst>
            <pc:docMk/>
            <pc:sldMk cId="635207881" sldId="2147473670"/>
            <ac:graphicFrameMk id="2" creationId="{3BF8E8E2-FC7A-766D-120A-12F0136F960F}"/>
          </ac:graphicFrameMkLst>
        </pc:graphicFrameChg>
        <pc:graphicFrameChg chg="add del mod">
          <ac:chgData name="Tường SKHĐT" userId="ab9568c39a88b08a" providerId="LiveId" clId="{24B61DD5-81B7-41F8-A7DC-70CAC367F49C}" dt="2023-06-04T09:12:00.853" v="1781" actId="21"/>
          <ac:graphicFrameMkLst>
            <pc:docMk/>
            <pc:sldMk cId="635207881" sldId="2147473670"/>
            <ac:graphicFrameMk id="4" creationId="{B0A917FD-F858-3B28-3C02-87EEC321932B}"/>
          </ac:graphicFrameMkLst>
        </pc:graphicFrameChg>
        <pc:graphicFrameChg chg="del modGraphic">
          <ac:chgData name="Tường SKHĐT" userId="ab9568c39a88b08a" providerId="LiveId" clId="{24B61DD5-81B7-41F8-A7DC-70CAC367F49C}" dt="2023-06-04T09:07:30.962" v="1624" actId="21"/>
          <ac:graphicFrameMkLst>
            <pc:docMk/>
            <pc:sldMk cId="635207881" sldId="2147473670"/>
            <ac:graphicFrameMk id="8" creationId="{B5E5335D-2EED-82AF-3A59-FAE8BB94EAE1}"/>
          </ac:graphicFrameMkLst>
        </pc:graphicFrameChg>
        <pc:graphicFrameChg chg="add del mod">
          <ac:chgData name="Tường SKHĐT" userId="ab9568c39a88b08a" providerId="LiveId" clId="{24B61DD5-81B7-41F8-A7DC-70CAC367F49C}" dt="2023-06-04T09:18:47.390" v="1784" actId="21"/>
          <ac:graphicFrameMkLst>
            <pc:docMk/>
            <pc:sldMk cId="635207881" sldId="2147473670"/>
            <ac:graphicFrameMk id="9" creationId="{AD4C547D-0890-F667-B1B4-EE787D4267F3}"/>
          </ac:graphicFrameMkLst>
        </pc:graphicFrameChg>
        <pc:graphicFrameChg chg="del mod">
          <ac:chgData name="Tường SKHĐT" userId="ab9568c39a88b08a" providerId="LiveId" clId="{24B61DD5-81B7-41F8-A7DC-70CAC367F49C}" dt="2023-06-04T09:30:49.199" v="1787" actId="21"/>
          <ac:graphicFrameMkLst>
            <pc:docMk/>
            <pc:sldMk cId="635207881" sldId="2147473670"/>
            <ac:graphicFrameMk id="10" creationId="{EE8C5A63-B79A-CA76-8497-BC576CF0BEDE}"/>
          </ac:graphicFrameMkLst>
        </pc:graphicFrameChg>
        <pc:graphicFrameChg chg="mod">
          <ac:chgData name="Tường SKHĐT" userId="ab9568c39a88b08a" providerId="LiveId" clId="{24B61DD5-81B7-41F8-A7DC-70CAC367F49C}" dt="2023-06-05T04:03:47.861" v="3073" actId="1076"/>
          <ac:graphicFrameMkLst>
            <pc:docMk/>
            <pc:sldMk cId="635207881" sldId="2147473670"/>
            <ac:graphicFrameMk id="11" creationId="{8CE30905-28A9-9689-2C3E-6531B00500B9}"/>
          </ac:graphicFrameMkLst>
        </pc:graphicFrameChg>
        <pc:picChg chg="add del mod">
          <ac:chgData name="Tường SKHĐT" userId="ab9568c39a88b08a" providerId="LiveId" clId="{24B61DD5-81B7-41F8-A7DC-70CAC367F49C}" dt="2023-06-04T09:07:27.516" v="1623" actId="21"/>
          <ac:picMkLst>
            <pc:docMk/>
            <pc:sldMk cId="635207881" sldId="2147473670"/>
            <ac:picMk id="3" creationId="{776FD919-070A-24CB-23D4-4A613C48A21B}"/>
          </ac:picMkLst>
        </pc:picChg>
        <pc:picChg chg="del">
          <ac:chgData name="Tường SKHĐT" userId="ab9568c39a88b08a" providerId="LiveId" clId="{24B61DD5-81B7-41F8-A7DC-70CAC367F49C}" dt="2023-06-04T08:14:12.469" v="1135" actId="21"/>
          <ac:picMkLst>
            <pc:docMk/>
            <pc:sldMk cId="635207881" sldId="2147473670"/>
            <ac:picMk id="4" creationId="{6FC098EF-C16A-239A-533E-490FA1A51880}"/>
          </ac:picMkLst>
        </pc:picChg>
      </pc:sldChg>
      <pc:sldChg chg="modSp add mod">
        <pc:chgData name="Tường SKHĐT" userId="ab9568c39a88b08a" providerId="LiveId" clId="{24B61DD5-81B7-41F8-A7DC-70CAC367F49C}" dt="2023-06-05T04:04:08.691" v="3078" actId="20577"/>
        <pc:sldMkLst>
          <pc:docMk/>
          <pc:sldMk cId="2891713991" sldId="2147473682"/>
        </pc:sldMkLst>
        <pc:spChg chg="mod">
          <ac:chgData name="Tường SKHĐT" userId="ab9568c39a88b08a" providerId="LiveId" clId="{24B61DD5-81B7-41F8-A7DC-70CAC367F49C}" dt="2023-06-05T04:02:13.511" v="2878" actId="14100"/>
          <ac:spMkLst>
            <pc:docMk/>
            <pc:sldMk cId="2891713991" sldId="2147473682"/>
            <ac:spMk id="3" creationId="{7DE9C339-0374-CDFA-118B-72A1D05AC25F}"/>
          </ac:spMkLst>
        </pc:spChg>
        <pc:spChg chg="mod">
          <ac:chgData name="Tường SKHĐT" userId="ab9568c39a88b08a" providerId="LiveId" clId="{24B61DD5-81B7-41F8-A7DC-70CAC367F49C}" dt="2023-06-05T03:57:03.768" v="2603" actId="20577"/>
          <ac:spMkLst>
            <pc:docMk/>
            <pc:sldMk cId="2891713991" sldId="2147473682"/>
            <ac:spMk id="8" creationId="{9C784448-56E3-AF56-D992-57722184ED5C}"/>
          </ac:spMkLst>
        </pc:spChg>
        <pc:graphicFrameChg chg="mod modGraphic">
          <ac:chgData name="Tường SKHĐT" userId="ab9568c39a88b08a" providerId="LiveId" clId="{24B61DD5-81B7-41F8-A7DC-70CAC367F49C}" dt="2023-06-05T04:04:08.691" v="3078" actId="20577"/>
          <ac:graphicFrameMkLst>
            <pc:docMk/>
            <pc:sldMk cId="2891713991" sldId="2147473682"/>
            <ac:graphicFrameMk id="4" creationId="{E9D7A4C3-2B51-D193-AED2-C30C6A60473F}"/>
          </ac:graphicFrameMkLst>
        </pc:graphicFrameChg>
      </pc:sldChg>
      <pc:sldChg chg="addSp modSp mod">
        <pc:chgData name="Tường SKHĐT" userId="ab9568c39a88b08a" providerId="LiveId" clId="{24B61DD5-81B7-41F8-A7DC-70CAC367F49C}" dt="2023-06-05T03:36:56.994" v="2333" actId="14100"/>
        <pc:sldMkLst>
          <pc:docMk/>
          <pc:sldMk cId="3956457276" sldId="2147473683"/>
        </pc:sldMkLst>
        <pc:spChg chg="mod">
          <ac:chgData name="Tường SKHĐT" userId="ab9568c39a88b08a" providerId="LiveId" clId="{24B61DD5-81B7-41F8-A7DC-70CAC367F49C}" dt="2023-06-05T03:36:34.429" v="2330" actId="1076"/>
          <ac:spMkLst>
            <pc:docMk/>
            <pc:sldMk cId="3956457276" sldId="2147473683"/>
            <ac:spMk id="2" creationId="{A49FA47D-1679-133E-0301-5CFB76FC4F8D}"/>
          </ac:spMkLst>
        </pc:spChg>
        <pc:spChg chg="add mod">
          <ac:chgData name="Tường SKHĐT" userId="ab9568c39a88b08a" providerId="LiveId" clId="{24B61DD5-81B7-41F8-A7DC-70CAC367F49C}" dt="2023-06-05T03:36:56.994" v="2333" actId="14100"/>
          <ac:spMkLst>
            <pc:docMk/>
            <pc:sldMk cId="3956457276" sldId="2147473683"/>
            <ac:spMk id="5" creationId="{18BC3680-EACE-A4C5-16CE-71CB62F92331}"/>
          </ac:spMkLst>
        </pc:spChg>
      </pc:sldChg>
      <pc:sldChg chg="addSp delSp modSp mod">
        <pc:chgData name="Tường SKHĐT" userId="ab9568c39a88b08a" providerId="LiveId" clId="{24B61DD5-81B7-41F8-A7DC-70CAC367F49C}" dt="2023-06-04T08:16:36.272" v="1144" actId="1076"/>
        <pc:sldMkLst>
          <pc:docMk/>
          <pc:sldMk cId="2676458148" sldId="2147473686"/>
        </pc:sldMkLst>
        <pc:picChg chg="add mod">
          <ac:chgData name="Tường SKHĐT" userId="ab9568c39a88b08a" providerId="LiveId" clId="{24B61DD5-81B7-41F8-A7DC-70CAC367F49C}" dt="2023-06-04T08:16:36.272" v="1144" actId="1076"/>
          <ac:picMkLst>
            <pc:docMk/>
            <pc:sldMk cId="2676458148" sldId="2147473686"/>
            <ac:picMk id="3" creationId="{0B7CA021-09F3-1F33-484C-C8E22C0125A5}"/>
          </ac:picMkLst>
        </pc:picChg>
        <pc:picChg chg="del">
          <ac:chgData name="Tường SKHĐT" userId="ab9568c39a88b08a" providerId="LiveId" clId="{24B61DD5-81B7-41F8-A7DC-70CAC367F49C}" dt="2023-06-04T08:16:28.549" v="1140" actId="21"/>
          <ac:picMkLst>
            <pc:docMk/>
            <pc:sldMk cId="2676458148" sldId="2147473686"/>
            <ac:picMk id="9" creationId="{C87DD715-6CD4-9772-A721-597F4A9A577A}"/>
          </ac:picMkLst>
        </pc:picChg>
      </pc:sldChg>
      <pc:sldChg chg="delSp modSp add mod">
        <pc:chgData name="Tường SKHĐT" userId="ab9568c39a88b08a" providerId="LiveId" clId="{24B61DD5-81B7-41F8-A7DC-70CAC367F49C}" dt="2023-06-05T04:11:49.881" v="3208" actId="21"/>
        <pc:sldMkLst>
          <pc:docMk/>
          <pc:sldMk cId="67746271" sldId="2147473699"/>
        </pc:sldMkLst>
        <pc:spChg chg="mod">
          <ac:chgData name="Tường SKHĐT" userId="ab9568c39a88b08a" providerId="LiveId" clId="{24B61DD5-81B7-41F8-A7DC-70CAC367F49C}" dt="2023-06-05T03:34:02.344" v="2322" actId="14100"/>
          <ac:spMkLst>
            <pc:docMk/>
            <pc:sldMk cId="67746271" sldId="2147473699"/>
            <ac:spMk id="4" creationId="{FEB40E86-96DD-7002-066A-784713A27A1C}"/>
          </ac:spMkLst>
        </pc:spChg>
        <pc:graphicFrameChg chg="del">
          <ac:chgData name="Tường SKHĐT" userId="ab9568c39a88b08a" providerId="LiveId" clId="{24B61DD5-81B7-41F8-A7DC-70CAC367F49C}" dt="2023-06-05T04:11:49.881" v="3208" actId="21"/>
          <ac:graphicFrameMkLst>
            <pc:docMk/>
            <pc:sldMk cId="67746271" sldId="2147473699"/>
            <ac:graphicFrameMk id="3" creationId="{01B941A9-ED1C-3BFD-7430-BFE5F3400A4E}"/>
          </ac:graphicFrameMkLst>
        </pc:graphicFrameChg>
      </pc:sldChg>
      <pc:sldChg chg="del">
        <pc:chgData name="Tường SKHĐT" userId="ab9568c39a88b08a" providerId="LiveId" clId="{24B61DD5-81B7-41F8-A7DC-70CAC367F49C}" dt="2023-06-04T04:32:49.738" v="325" actId="2696"/>
        <pc:sldMkLst>
          <pc:docMk/>
          <pc:sldMk cId="114303837" sldId="2147473702"/>
        </pc:sldMkLst>
      </pc:sldChg>
      <pc:sldChg chg="delSp modSp del mod">
        <pc:chgData name="Tường SKHĐT" userId="ab9568c39a88b08a" providerId="LiveId" clId="{24B61DD5-81B7-41F8-A7DC-70CAC367F49C}" dt="2023-06-05T03:35:55.766" v="2323" actId="2696"/>
        <pc:sldMkLst>
          <pc:docMk/>
          <pc:sldMk cId="571953836" sldId="2147473705"/>
        </pc:sldMkLst>
        <pc:spChg chg="del">
          <ac:chgData name="Tường SKHĐT" userId="ab9568c39a88b08a" providerId="LiveId" clId="{24B61DD5-81B7-41F8-A7DC-70CAC367F49C}" dt="2023-06-04T08:56:34.564" v="1508" actId="21"/>
          <ac:spMkLst>
            <pc:docMk/>
            <pc:sldMk cId="571953836" sldId="2147473705"/>
            <ac:spMk id="5" creationId="{A5E63777-D9B0-CC7C-4534-85577A499B18}"/>
          </ac:spMkLst>
        </pc:spChg>
        <pc:graphicFrameChg chg="mod">
          <ac:chgData name="Tường SKHĐT" userId="ab9568c39a88b08a" providerId="LiveId" clId="{24B61DD5-81B7-41F8-A7DC-70CAC367F49C}" dt="2023-06-04T08:56:42.187" v="1511" actId="14100"/>
          <ac:graphicFrameMkLst>
            <pc:docMk/>
            <pc:sldMk cId="571953836" sldId="2147473705"/>
            <ac:graphicFrameMk id="6" creationId="{00000000-0000-0000-0000-000000000000}"/>
          </ac:graphicFrameMkLst>
        </pc:graphicFrameChg>
        <pc:cxnChg chg="del">
          <ac:chgData name="Tường SKHĐT" userId="ab9568c39a88b08a" providerId="LiveId" clId="{24B61DD5-81B7-41F8-A7DC-70CAC367F49C}" dt="2023-06-04T08:56:36.273" v="1509" actId="21"/>
          <ac:cxnSpMkLst>
            <pc:docMk/>
            <pc:sldMk cId="571953836" sldId="2147473705"/>
            <ac:cxnSpMk id="10" creationId="{9923AE74-1EB9-B8B8-7F10-C195957B00FF}"/>
          </ac:cxnSpMkLst>
        </pc:cxnChg>
      </pc:sldChg>
      <pc:sldChg chg="modSp mod modAnim">
        <pc:chgData name="Tường SKHĐT" userId="ab9568c39a88b08a" providerId="LiveId" clId="{24B61DD5-81B7-41F8-A7DC-70CAC367F49C}" dt="2023-06-05T04:11:23.573" v="3206" actId="1076"/>
        <pc:sldMkLst>
          <pc:docMk/>
          <pc:sldMk cId="1384294736" sldId="2147473707"/>
        </pc:sldMkLst>
        <pc:spChg chg="mod">
          <ac:chgData name="Tường SKHĐT" userId="ab9568c39a88b08a" providerId="LiveId" clId="{24B61DD5-81B7-41F8-A7DC-70CAC367F49C}" dt="2023-06-05T04:11:23.573" v="3206" actId="1076"/>
          <ac:spMkLst>
            <pc:docMk/>
            <pc:sldMk cId="1384294736" sldId="2147473707"/>
            <ac:spMk id="2" creationId="{A49FA47D-1679-133E-0301-5CFB76FC4F8D}"/>
          </ac:spMkLst>
        </pc:spChg>
      </pc:sldChg>
      <pc:sldChg chg="addSp delSp modSp mod">
        <pc:chgData name="Tường SKHĐT" userId="ab9568c39a88b08a" providerId="LiveId" clId="{24B61DD5-81B7-41F8-A7DC-70CAC367F49C}" dt="2023-06-05T03:46:41.678" v="2590" actId="20577"/>
        <pc:sldMkLst>
          <pc:docMk/>
          <pc:sldMk cId="3055150034" sldId="2147473708"/>
        </pc:sldMkLst>
        <pc:spChg chg="mod">
          <ac:chgData name="Tường SKHĐT" userId="ab9568c39a88b08a" providerId="LiveId" clId="{24B61DD5-81B7-41F8-A7DC-70CAC367F49C}" dt="2023-06-05T03:37:09.913" v="2350" actId="1076"/>
          <ac:spMkLst>
            <pc:docMk/>
            <pc:sldMk cId="3055150034" sldId="2147473708"/>
            <ac:spMk id="2" creationId="{A49FA47D-1679-133E-0301-5CFB76FC4F8D}"/>
          </ac:spMkLst>
        </pc:spChg>
        <pc:spChg chg="add mod">
          <ac:chgData name="Tường SKHĐT" userId="ab9568c39a88b08a" providerId="LiveId" clId="{24B61DD5-81B7-41F8-A7DC-70CAC367F49C}" dt="2023-06-05T03:46:41.678" v="2590" actId="20577"/>
          <ac:spMkLst>
            <pc:docMk/>
            <pc:sldMk cId="3055150034" sldId="2147473708"/>
            <ac:spMk id="3" creationId="{973E96D9-4F91-4876-00F3-BF6AFE417E46}"/>
          </ac:spMkLst>
        </pc:spChg>
        <pc:graphicFrameChg chg="mod">
          <ac:chgData name="Tường SKHĐT" userId="ab9568c39a88b08a" providerId="LiveId" clId="{24B61DD5-81B7-41F8-A7DC-70CAC367F49C}" dt="2023-06-05T03:36:23.718" v="2329" actId="1076"/>
          <ac:graphicFrameMkLst>
            <pc:docMk/>
            <pc:sldMk cId="3055150034" sldId="2147473708"/>
            <ac:graphicFrameMk id="6" creationId="{00000000-0000-0000-0000-000000000000}"/>
          </ac:graphicFrameMkLst>
        </pc:graphicFrameChg>
        <pc:picChg chg="mod">
          <ac:chgData name="Tường SKHĐT" userId="ab9568c39a88b08a" providerId="LiveId" clId="{24B61DD5-81B7-41F8-A7DC-70CAC367F49C}" dt="2023-06-05T02:40:38.424" v="2027" actId="14100"/>
          <ac:picMkLst>
            <pc:docMk/>
            <pc:sldMk cId="3055150034" sldId="2147473708"/>
            <ac:picMk id="4" creationId="{2439F62E-2244-A8A0-2D0A-1A7DDA127BB0}"/>
          </ac:picMkLst>
        </pc:picChg>
        <pc:picChg chg="add del mod">
          <ac:chgData name="Tường SKHĐT" userId="ab9568c39a88b08a" providerId="LiveId" clId="{24B61DD5-81B7-41F8-A7DC-70CAC367F49C}" dt="2023-06-05T02:40:41.602" v="2028" actId="1076"/>
          <ac:picMkLst>
            <pc:docMk/>
            <pc:sldMk cId="3055150034" sldId="2147473708"/>
            <ac:picMk id="8" creationId="{00000000-0000-0000-0000-000000000000}"/>
          </ac:picMkLst>
        </pc:picChg>
      </pc:sldChg>
      <pc:sldChg chg="delSp modSp mod">
        <pc:chgData name="Tường SKHĐT" userId="ab9568c39a88b08a" providerId="LiveId" clId="{24B61DD5-81B7-41F8-A7DC-70CAC367F49C}" dt="2023-06-04T08:43:55.066" v="1492" actId="1076"/>
        <pc:sldMkLst>
          <pc:docMk/>
          <pc:sldMk cId="603705395" sldId="2147473711"/>
        </pc:sldMkLst>
        <pc:graphicFrameChg chg="del">
          <ac:chgData name="Tường SKHĐT" userId="ab9568c39a88b08a" providerId="LiveId" clId="{24B61DD5-81B7-41F8-A7DC-70CAC367F49C}" dt="2023-06-04T08:43:31.783" v="1463" actId="21"/>
          <ac:graphicFrameMkLst>
            <pc:docMk/>
            <pc:sldMk cId="603705395" sldId="2147473711"/>
            <ac:graphicFrameMk id="8" creationId="{B84EDBB1-5407-5327-5C47-29B913E467B5}"/>
          </ac:graphicFrameMkLst>
        </pc:graphicFrameChg>
        <pc:graphicFrameChg chg="mod modGraphic">
          <ac:chgData name="Tường SKHĐT" userId="ab9568c39a88b08a" providerId="LiveId" clId="{24B61DD5-81B7-41F8-A7DC-70CAC367F49C}" dt="2023-06-04T08:43:55.066" v="1492" actId="1076"/>
          <ac:graphicFrameMkLst>
            <pc:docMk/>
            <pc:sldMk cId="603705395" sldId="2147473711"/>
            <ac:graphicFrameMk id="10" creationId="{83C0D92A-467E-3F41-0043-586F35EFB2C8}"/>
          </ac:graphicFrameMkLst>
        </pc:graphicFrameChg>
      </pc:sldChg>
      <pc:sldChg chg="delSp modSp del mod">
        <pc:chgData name="Tường SKHĐT" userId="ab9568c39a88b08a" providerId="LiveId" clId="{24B61DD5-81B7-41F8-A7DC-70CAC367F49C}" dt="2023-06-04T04:28:49.367" v="256" actId="2696"/>
        <pc:sldMkLst>
          <pc:docMk/>
          <pc:sldMk cId="1531660894" sldId="2147473731"/>
        </pc:sldMkLst>
        <pc:spChg chg="del">
          <ac:chgData name="Tường SKHĐT" userId="ab9568c39a88b08a" providerId="LiveId" clId="{24B61DD5-81B7-41F8-A7DC-70CAC367F49C}" dt="2023-06-04T04:28:11.673" v="245" actId="478"/>
          <ac:spMkLst>
            <pc:docMk/>
            <pc:sldMk cId="1531660894" sldId="2147473731"/>
            <ac:spMk id="33" creationId="{0959055D-1A0E-234C-9864-D6D0F9E441B4}"/>
          </ac:spMkLst>
        </pc:spChg>
        <pc:spChg chg="del">
          <ac:chgData name="Tường SKHĐT" userId="ab9568c39a88b08a" providerId="LiveId" clId="{24B61DD5-81B7-41F8-A7DC-70CAC367F49C}" dt="2023-06-04T04:28:11.673" v="245" actId="478"/>
          <ac:spMkLst>
            <pc:docMk/>
            <pc:sldMk cId="1531660894" sldId="2147473731"/>
            <ac:spMk id="51" creationId="{E639D5A5-0B2B-2B25-C42F-CD3F6B8CE468}"/>
          </ac:spMkLst>
        </pc:spChg>
        <pc:grpChg chg="del">
          <ac:chgData name="Tường SKHĐT" userId="ab9568c39a88b08a" providerId="LiveId" clId="{24B61DD5-81B7-41F8-A7DC-70CAC367F49C}" dt="2023-06-04T04:28:11.673" v="245" actId="478"/>
          <ac:grpSpMkLst>
            <pc:docMk/>
            <pc:sldMk cId="1531660894" sldId="2147473731"/>
            <ac:grpSpMk id="34" creationId="{E9FF81F2-B8F1-6141-480B-3136065353D9}"/>
          </ac:grpSpMkLst>
        </pc:grpChg>
        <pc:grpChg chg="del">
          <ac:chgData name="Tường SKHĐT" userId="ab9568c39a88b08a" providerId="LiveId" clId="{24B61DD5-81B7-41F8-A7DC-70CAC367F49C}" dt="2023-06-04T04:28:11.673" v="245" actId="478"/>
          <ac:grpSpMkLst>
            <pc:docMk/>
            <pc:sldMk cId="1531660894" sldId="2147473731"/>
            <ac:grpSpMk id="38" creationId="{11D29D9B-8730-3997-C9A4-11315D5FC881}"/>
          </ac:grpSpMkLst>
        </pc:grpChg>
        <pc:grpChg chg="del">
          <ac:chgData name="Tường SKHĐT" userId="ab9568c39a88b08a" providerId="LiveId" clId="{24B61DD5-81B7-41F8-A7DC-70CAC367F49C}" dt="2023-06-04T04:28:11.673" v="245" actId="478"/>
          <ac:grpSpMkLst>
            <pc:docMk/>
            <pc:sldMk cId="1531660894" sldId="2147473731"/>
            <ac:grpSpMk id="41" creationId="{F8F0BB93-27B2-163B-81FF-6B6608C40518}"/>
          </ac:grpSpMkLst>
        </pc:grpChg>
        <pc:grpChg chg="del">
          <ac:chgData name="Tường SKHĐT" userId="ab9568c39a88b08a" providerId="LiveId" clId="{24B61DD5-81B7-41F8-A7DC-70CAC367F49C}" dt="2023-06-04T04:28:11.673" v="245" actId="478"/>
          <ac:grpSpMkLst>
            <pc:docMk/>
            <pc:sldMk cId="1531660894" sldId="2147473731"/>
            <ac:grpSpMk id="46" creationId="{937E3CB8-3528-4025-9B27-90C52F1E8DB0}"/>
          </ac:grpSpMkLst>
        </pc:grpChg>
        <pc:graphicFrameChg chg="mod modGraphic">
          <ac:chgData name="Tường SKHĐT" userId="ab9568c39a88b08a" providerId="LiveId" clId="{24B61DD5-81B7-41F8-A7DC-70CAC367F49C}" dt="2023-06-04T04:28:17.757" v="247" actId="1076"/>
          <ac:graphicFrameMkLst>
            <pc:docMk/>
            <pc:sldMk cId="1531660894" sldId="2147473731"/>
            <ac:graphicFrameMk id="8" creationId="{B5E5335D-2EED-82AF-3A59-FAE8BB94EAE1}"/>
          </ac:graphicFrameMkLst>
        </pc:graphicFrameChg>
        <pc:picChg chg="del">
          <ac:chgData name="Tường SKHĐT" userId="ab9568c39a88b08a" providerId="LiveId" clId="{24B61DD5-81B7-41F8-A7DC-70CAC367F49C}" dt="2023-06-04T04:28:11.673" v="245" actId="478"/>
          <ac:picMkLst>
            <pc:docMk/>
            <pc:sldMk cId="1531660894" sldId="2147473731"/>
            <ac:picMk id="30" creationId="{08AE9AC3-FD57-47BC-AF03-5B008563EF4B}"/>
          </ac:picMkLst>
        </pc:picChg>
        <pc:picChg chg="del">
          <ac:chgData name="Tường SKHĐT" userId="ab9568c39a88b08a" providerId="LiveId" clId="{24B61DD5-81B7-41F8-A7DC-70CAC367F49C}" dt="2023-06-04T04:28:11.673" v="245" actId="478"/>
          <ac:picMkLst>
            <pc:docMk/>
            <pc:sldMk cId="1531660894" sldId="2147473731"/>
            <ac:picMk id="31" creationId="{71CE52F5-FFC8-14D4-FBA2-3FC98A85CCC2}"/>
          </ac:picMkLst>
        </pc:picChg>
        <pc:picChg chg="del">
          <ac:chgData name="Tường SKHĐT" userId="ab9568c39a88b08a" providerId="LiveId" clId="{24B61DD5-81B7-41F8-A7DC-70CAC367F49C}" dt="2023-06-04T04:28:11.673" v="245" actId="478"/>
          <ac:picMkLst>
            <pc:docMk/>
            <pc:sldMk cId="1531660894" sldId="2147473731"/>
            <ac:picMk id="32" creationId="{D60AE9D0-2656-F431-EBC5-CFC3173546E1}"/>
          </ac:picMkLst>
        </pc:picChg>
        <pc:picChg chg="del">
          <ac:chgData name="Tường SKHĐT" userId="ab9568c39a88b08a" providerId="LiveId" clId="{24B61DD5-81B7-41F8-A7DC-70CAC367F49C}" dt="2023-06-04T04:28:11.673" v="245" actId="478"/>
          <ac:picMkLst>
            <pc:docMk/>
            <pc:sldMk cId="1531660894" sldId="2147473731"/>
            <ac:picMk id="45" creationId="{877003C6-7270-3A27-2661-B33D0BFBFE18}"/>
          </ac:picMkLst>
        </pc:picChg>
        <pc:picChg chg="del">
          <ac:chgData name="Tường SKHĐT" userId="ab9568c39a88b08a" providerId="LiveId" clId="{24B61DD5-81B7-41F8-A7DC-70CAC367F49C}" dt="2023-06-04T04:28:11.673" v="245" actId="478"/>
          <ac:picMkLst>
            <pc:docMk/>
            <pc:sldMk cId="1531660894" sldId="2147473731"/>
            <ac:picMk id="50" creationId="{CC057292-7944-31CA-AED4-B1127A7792E6}"/>
          </ac:picMkLst>
        </pc:picChg>
      </pc:sldChg>
      <pc:sldChg chg="modSp mod">
        <pc:chgData name="Tường SKHĐT" userId="ab9568c39a88b08a" providerId="LiveId" clId="{24B61DD5-81B7-41F8-A7DC-70CAC367F49C}" dt="2023-06-04T08:18:41.293" v="1154" actId="20577"/>
        <pc:sldMkLst>
          <pc:docMk/>
          <pc:sldMk cId="2569991023" sldId="2147473733"/>
        </pc:sldMkLst>
        <pc:graphicFrameChg chg="mod modGraphic">
          <ac:chgData name="Tường SKHĐT" userId="ab9568c39a88b08a" providerId="LiveId" clId="{24B61DD5-81B7-41F8-A7DC-70CAC367F49C}" dt="2023-06-04T08:18:41.293" v="1154" actId="20577"/>
          <ac:graphicFrameMkLst>
            <pc:docMk/>
            <pc:sldMk cId="2569991023" sldId="2147473733"/>
            <ac:graphicFrameMk id="8" creationId="{B5E5335D-2EED-82AF-3A59-FAE8BB94EAE1}"/>
          </ac:graphicFrameMkLst>
        </pc:graphicFrameChg>
      </pc:sldChg>
      <pc:sldChg chg="modSp mod">
        <pc:chgData name="Tường SKHĐT" userId="ab9568c39a88b08a" providerId="LiveId" clId="{24B61DD5-81B7-41F8-A7DC-70CAC367F49C}" dt="2023-06-04T08:01:15.963" v="524" actId="1076"/>
        <pc:sldMkLst>
          <pc:docMk/>
          <pc:sldMk cId="1379701318" sldId="2147473734"/>
        </pc:sldMkLst>
        <pc:graphicFrameChg chg="mod modGraphic">
          <ac:chgData name="Tường SKHĐT" userId="ab9568c39a88b08a" providerId="LiveId" clId="{24B61DD5-81B7-41F8-A7DC-70CAC367F49C}" dt="2023-06-04T08:01:15.963" v="524" actId="1076"/>
          <ac:graphicFrameMkLst>
            <pc:docMk/>
            <pc:sldMk cId="1379701318" sldId="2147473734"/>
            <ac:graphicFrameMk id="9" creationId="{0FC7DBA8-03B5-1D5D-B7A1-68AA6F62DF7E}"/>
          </ac:graphicFrameMkLst>
        </pc:graphicFrameChg>
      </pc:sldChg>
      <pc:sldChg chg="delSp modSp mod">
        <pc:chgData name="Tường SKHĐT" userId="ab9568c39a88b08a" providerId="LiveId" clId="{24B61DD5-81B7-41F8-A7DC-70CAC367F49C}" dt="2023-06-04T04:25:06.072" v="237" actId="14100"/>
        <pc:sldMkLst>
          <pc:docMk/>
          <pc:sldMk cId="3474861270" sldId="2147473735"/>
        </pc:sldMkLst>
        <pc:graphicFrameChg chg="del mod">
          <ac:chgData name="Tường SKHĐT" userId="ab9568c39a88b08a" providerId="LiveId" clId="{24B61DD5-81B7-41F8-A7DC-70CAC367F49C}" dt="2023-06-04T04:24:48.513" v="233" actId="21"/>
          <ac:graphicFrameMkLst>
            <pc:docMk/>
            <pc:sldMk cId="3474861270" sldId="2147473735"/>
            <ac:graphicFrameMk id="3" creationId="{BF6EC193-0EB3-09F4-ED89-B813F584F59F}"/>
          </ac:graphicFrameMkLst>
        </pc:graphicFrameChg>
        <pc:graphicFrameChg chg="mod">
          <ac:chgData name="Tường SKHĐT" userId="ab9568c39a88b08a" providerId="LiveId" clId="{24B61DD5-81B7-41F8-A7DC-70CAC367F49C}" dt="2023-06-04T04:25:06.072" v="237" actId="14100"/>
          <ac:graphicFrameMkLst>
            <pc:docMk/>
            <pc:sldMk cId="3474861270" sldId="2147473735"/>
            <ac:graphicFrameMk id="4" creationId="{35F30E1D-6131-F2A7-F567-8AC961E4AE2A}"/>
          </ac:graphicFrameMkLst>
        </pc:graphicFrameChg>
        <pc:picChg chg="mod">
          <ac:chgData name="Tường SKHĐT" userId="ab9568c39a88b08a" providerId="LiveId" clId="{24B61DD5-81B7-41F8-A7DC-70CAC367F49C}" dt="2023-06-04T04:23:40.523" v="228"/>
          <ac:picMkLst>
            <pc:docMk/>
            <pc:sldMk cId="3474861270" sldId="2147473735"/>
            <ac:picMk id="2" creationId="{956FAA40-D79B-C819-F976-4FAE47924C8C}"/>
          </ac:picMkLst>
        </pc:picChg>
        <pc:picChg chg="del">
          <ac:chgData name="Tường SKHĐT" userId="ab9568c39a88b08a" providerId="LiveId" clId="{24B61DD5-81B7-41F8-A7DC-70CAC367F49C}" dt="2023-06-04T04:23:35.307" v="227" actId="21"/>
          <ac:picMkLst>
            <pc:docMk/>
            <pc:sldMk cId="3474861270" sldId="2147473735"/>
            <ac:picMk id="5" creationId="{956FAA40-D79B-C819-F976-4FAE47924C8C}"/>
          </ac:picMkLst>
        </pc:picChg>
      </pc:sldChg>
      <pc:sldChg chg="addSp delSp modSp mod">
        <pc:chgData name="Tường SKHĐT" userId="ab9568c39a88b08a" providerId="LiveId" clId="{24B61DD5-81B7-41F8-A7DC-70CAC367F49C}" dt="2023-06-04T04:28:44.650" v="255" actId="14100"/>
        <pc:sldMkLst>
          <pc:docMk/>
          <pc:sldMk cId="1775073472" sldId="2147473736"/>
        </pc:sldMkLst>
        <pc:graphicFrameChg chg="del">
          <ac:chgData name="Tường SKHĐT" userId="ab9568c39a88b08a" providerId="LiveId" clId="{24B61DD5-81B7-41F8-A7DC-70CAC367F49C}" dt="2023-06-04T04:26:36.517" v="240"/>
          <ac:graphicFrameMkLst>
            <pc:docMk/>
            <pc:sldMk cId="1775073472" sldId="2147473736"/>
            <ac:graphicFrameMk id="2" creationId="{15F9D0C1-B203-9E8E-C12C-73701712E558}"/>
          </ac:graphicFrameMkLst>
        </pc:graphicFrameChg>
        <pc:graphicFrameChg chg="del mod">
          <ac:chgData name="Tường SKHĐT" userId="ab9568c39a88b08a" providerId="LiveId" clId="{24B61DD5-81B7-41F8-A7DC-70CAC367F49C}" dt="2023-06-04T04:27:37.776" v="242" actId="21"/>
          <ac:graphicFrameMkLst>
            <pc:docMk/>
            <pc:sldMk cId="1775073472" sldId="2147473736"/>
            <ac:graphicFrameMk id="4" creationId="{F5155624-911E-4BD4-2179-2752E732848B}"/>
          </ac:graphicFrameMkLst>
        </pc:graphicFrameChg>
        <pc:graphicFrameChg chg="mod">
          <ac:chgData name="Tường SKHĐT" userId="ab9568c39a88b08a" providerId="LiveId" clId="{24B61DD5-81B7-41F8-A7DC-70CAC367F49C}" dt="2023-06-04T04:28:44.650" v="255" actId="14100"/>
          <ac:graphicFrameMkLst>
            <pc:docMk/>
            <pc:sldMk cId="1775073472" sldId="2147473736"/>
            <ac:graphicFrameMk id="5" creationId="{4F59E573-56EE-83D4-0602-CC0366BF17C8}"/>
          </ac:graphicFrameMkLst>
        </pc:graphicFrameChg>
        <pc:graphicFrameChg chg="add mod modGraphic">
          <ac:chgData name="Tường SKHĐT" userId="ab9568c39a88b08a" providerId="LiveId" clId="{24B61DD5-81B7-41F8-A7DC-70CAC367F49C}" dt="2023-06-04T04:28:41.926" v="254" actId="1076"/>
          <ac:graphicFrameMkLst>
            <pc:docMk/>
            <pc:sldMk cId="1775073472" sldId="2147473736"/>
            <ac:graphicFrameMk id="6" creationId="{47027231-95EF-C8CE-4215-B126B807487B}"/>
          </ac:graphicFrameMkLst>
        </pc:graphicFrameChg>
        <pc:picChg chg="del">
          <ac:chgData name="Tường SKHĐT" userId="ab9568c39a88b08a" providerId="LiveId" clId="{24B61DD5-81B7-41F8-A7DC-70CAC367F49C}" dt="2023-06-04T04:26:03.550" v="239" actId="21"/>
          <ac:picMkLst>
            <pc:docMk/>
            <pc:sldMk cId="1775073472" sldId="2147473736"/>
            <ac:picMk id="3" creationId="{5AC2D7C3-E090-4C77-D4E6-88325902E8B7}"/>
          </ac:picMkLst>
        </pc:picChg>
      </pc:sldChg>
      <pc:sldChg chg="addSp delSp modSp mod">
        <pc:chgData name="Tường SKHĐT" userId="ab9568c39a88b08a" providerId="LiveId" clId="{24B61DD5-81B7-41F8-A7DC-70CAC367F49C}" dt="2023-06-04T04:30:36.690" v="270" actId="1076"/>
        <pc:sldMkLst>
          <pc:docMk/>
          <pc:sldMk cId="3744426745" sldId="2147473737"/>
        </pc:sldMkLst>
        <pc:graphicFrameChg chg="del mod">
          <ac:chgData name="Tường SKHĐT" userId="ab9568c39a88b08a" providerId="LiveId" clId="{24B61DD5-81B7-41F8-A7DC-70CAC367F49C}" dt="2023-06-04T04:30:13.522" v="265" actId="21"/>
          <ac:graphicFrameMkLst>
            <pc:docMk/>
            <pc:sldMk cId="3744426745" sldId="2147473737"/>
            <ac:graphicFrameMk id="2" creationId="{7D57F45F-1272-131C-41D5-1545CEE535C9}"/>
          </ac:graphicFrameMkLst>
        </pc:graphicFrameChg>
        <pc:graphicFrameChg chg="add mod modGraphic">
          <ac:chgData name="Tường SKHĐT" userId="ab9568c39a88b08a" providerId="LiveId" clId="{24B61DD5-81B7-41F8-A7DC-70CAC367F49C}" dt="2023-06-04T04:30:36.690" v="270" actId="1076"/>
          <ac:graphicFrameMkLst>
            <pc:docMk/>
            <pc:sldMk cId="3744426745" sldId="2147473737"/>
            <ac:graphicFrameMk id="3" creationId="{1243D2EC-FD70-31EF-486E-0289B57D5A19}"/>
          </ac:graphicFrameMkLst>
        </pc:graphicFrameChg>
        <pc:graphicFrameChg chg="del">
          <ac:chgData name="Tường SKHĐT" userId="ab9568c39a88b08a" providerId="LiveId" clId="{24B61DD5-81B7-41F8-A7DC-70CAC367F49C}" dt="2023-06-04T04:30:18.036" v="266"/>
          <ac:graphicFrameMkLst>
            <pc:docMk/>
            <pc:sldMk cId="3744426745" sldId="2147473737"/>
            <ac:graphicFrameMk id="4" creationId="{6B787520-D013-97AE-CF78-ECF865F08531}"/>
          </ac:graphicFrameMkLst>
        </pc:graphicFrameChg>
        <pc:graphicFrameChg chg="mod">
          <ac:chgData name="Tường SKHĐT" userId="ab9568c39a88b08a" providerId="LiveId" clId="{24B61DD5-81B7-41F8-A7DC-70CAC367F49C}" dt="2023-06-04T04:30:33.300" v="269" actId="14100"/>
          <ac:graphicFrameMkLst>
            <pc:docMk/>
            <pc:sldMk cId="3744426745" sldId="2147473737"/>
            <ac:graphicFrameMk id="5" creationId="{451E805E-275E-1A0E-FDC4-B15B1F672CF6}"/>
          </ac:graphicFrameMkLst>
        </pc:graphicFrameChg>
        <pc:picChg chg="del">
          <ac:chgData name="Tường SKHĐT" userId="ab9568c39a88b08a" providerId="LiveId" clId="{24B61DD5-81B7-41F8-A7DC-70CAC367F49C}" dt="2023-06-04T04:29:13.450" v="257" actId="21"/>
          <ac:picMkLst>
            <pc:docMk/>
            <pc:sldMk cId="3744426745" sldId="2147473737"/>
            <ac:picMk id="7" creationId="{88723A39-7226-0710-ECED-2DFB60814456}"/>
          </ac:picMkLst>
        </pc:picChg>
      </pc:sldChg>
      <pc:sldChg chg="addSp delSp modSp mod">
        <pc:chgData name="Tường SKHĐT" userId="ab9568c39a88b08a" providerId="LiveId" clId="{24B61DD5-81B7-41F8-A7DC-70CAC367F49C}" dt="2023-06-05T03:27:44.646" v="2201" actId="20577"/>
        <pc:sldMkLst>
          <pc:docMk/>
          <pc:sldMk cId="3839081106" sldId="2147473738"/>
        </pc:sldMkLst>
        <pc:spChg chg="mod">
          <ac:chgData name="Tường SKHĐT" userId="ab9568c39a88b08a" providerId="LiveId" clId="{24B61DD5-81B7-41F8-A7DC-70CAC367F49C}" dt="2023-06-05T03:27:32.599" v="2189" actId="20577"/>
          <ac:spMkLst>
            <pc:docMk/>
            <pc:sldMk cId="3839081106" sldId="2147473738"/>
            <ac:spMk id="20" creationId="{394D8737-1CA3-C18F-155A-3F82403D4E3B}"/>
          </ac:spMkLst>
        </pc:spChg>
        <pc:spChg chg="mod">
          <ac:chgData name="Tường SKHĐT" userId="ab9568c39a88b08a" providerId="LiveId" clId="{24B61DD5-81B7-41F8-A7DC-70CAC367F49C}" dt="2023-06-05T03:27:38.445" v="2197" actId="20577"/>
          <ac:spMkLst>
            <pc:docMk/>
            <pc:sldMk cId="3839081106" sldId="2147473738"/>
            <ac:spMk id="27" creationId="{8D0CB480-EC39-4DC1-0353-768C8526261D}"/>
          </ac:spMkLst>
        </pc:spChg>
        <pc:spChg chg="mod">
          <ac:chgData name="Tường SKHĐT" userId="ab9568c39a88b08a" providerId="LiveId" clId="{24B61DD5-81B7-41F8-A7DC-70CAC367F49C}" dt="2023-06-05T03:27:44.646" v="2201" actId="20577"/>
          <ac:spMkLst>
            <pc:docMk/>
            <pc:sldMk cId="3839081106" sldId="2147473738"/>
            <ac:spMk id="28" creationId="{0F9FC2CC-E142-6E69-C8D8-33B29DA66359}"/>
          </ac:spMkLst>
        </pc:spChg>
        <pc:spChg chg="mod">
          <ac:chgData name="Tường SKHĐT" userId="ab9568c39a88b08a" providerId="LiveId" clId="{24B61DD5-81B7-41F8-A7DC-70CAC367F49C}" dt="2023-06-05T03:27:41.734" v="2199" actId="20577"/>
          <ac:spMkLst>
            <pc:docMk/>
            <pc:sldMk cId="3839081106" sldId="2147473738"/>
            <ac:spMk id="29" creationId="{8DD5A653-6B03-584A-539A-C531FCC0C782}"/>
          </ac:spMkLst>
        </pc:spChg>
        <pc:spChg chg="mod">
          <ac:chgData name="Tường SKHĐT" userId="ab9568c39a88b08a" providerId="LiveId" clId="{24B61DD5-81B7-41F8-A7DC-70CAC367F49C}" dt="2023-06-04T08:07:27.565" v="746" actId="404"/>
          <ac:spMkLst>
            <pc:docMk/>
            <pc:sldMk cId="3839081106" sldId="2147473738"/>
            <ac:spMk id="31" creationId="{F63E7A46-F560-1E4C-2CD4-65FEB0E1A690}"/>
          </ac:spMkLst>
        </pc:spChg>
        <pc:spChg chg="mod">
          <ac:chgData name="Tường SKHĐT" userId="ab9568c39a88b08a" providerId="LiveId" clId="{24B61DD5-81B7-41F8-A7DC-70CAC367F49C}" dt="2023-06-04T08:07:13.871" v="739" actId="1076"/>
          <ac:spMkLst>
            <pc:docMk/>
            <pc:sldMk cId="3839081106" sldId="2147473738"/>
            <ac:spMk id="37" creationId="{A633A4AB-4B54-9DFF-1D3F-EE9B0A4D52DA}"/>
          </ac:spMkLst>
        </pc:spChg>
        <pc:spChg chg="del">
          <ac:chgData name="Tường SKHĐT" userId="ab9568c39a88b08a" providerId="LiveId" clId="{24B61DD5-81B7-41F8-A7DC-70CAC367F49C}" dt="2023-06-04T08:06:27.939" v="715" actId="478"/>
          <ac:spMkLst>
            <pc:docMk/>
            <pc:sldMk cId="3839081106" sldId="2147473738"/>
            <ac:spMk id="38" creationId="{FF2CE636-D24D-E952-D91A-2DC1573B5B0B}"/>
          </ac:spMkLst>
        </pc:spChg>
        <pc:spChg chg="del">
          <ac:chgData name="Tường SKHĐT" userId="ab9568c39a88b08a" providerId="LiveId" clId="{24B61DD5-81B7-41F8-A7DC-70CAC367F49C}" dt="2023-06-04T08:06:31.162" v="718" actId="478"/>
          <ac:spMkLst>
            <pc:docMk/>
            <pc:sldMk cId="3839081106" sldId="2147473738"/>
            <ac:spMk id="39" creationId="{82096C86-54EA-BFDB-6C35-61A8AAB5E9E9}"/>
          </ac:spMkLst>
        </pc:spChg>
        <pc:spChg chg="mod">
          <ac:chgData name="Tường SKHĐT" userId="ab9568c39a88b08a" providerId="LiveId" clId="{24B61DD5-81B7-41F8-A7DC-70CAC367F49C}" dt="2023-06-04T08:07:38.939" v="751" actId="1076"/>
          <ac:spMkLst>
            <pc:docMk/>
            <pc:sldMk cId="3839081106" sldId="2147473738"/>
            <ac:spMk id="42" creationId="{533E850C-484F-6D85-E716-06C684F9ABA9}"/>
          </ac:spMkLst>
        </pc:spChg>
        <pc:spChg chg="del">
          <ac:chgData name="Tường SKHĐT" userId="ab9568c39a88b08a" providerId="LiveId" clId="{24B61DD5-81B7-41F8-A7DC-70CAC367F49C}" dt="2023-06-04T08:06:34.235" v="719" actId="21"/>
          <ac:spMkLst>
            <pc:docMk/>
            <pc:sldMk cId="3839081106" sldId="2147473738"/>
            <ac:spMk id="44" creationId="{5E1839A1-AF45-017F-DFD1-C34DB517EE3A}"/>
          </ac:spMkLst>
        </pc:spChg>
        <pc:spChg chg="mod">
          <ac:chgData name="Tường SKHĐT" userId="ab9568c39a88b08a" providerId="LiveId" clId="{24B61DD5-81B7-41F8-A7DC-70CAC367F49C}" dt="2023-06-04T08:07:01.343" v="735" actId="1076"/>
          <ac:spMkLst>
            <pc:docMk/>
            <pc:sldMk cId="3839081106" sldId="2147473738"/>
            <ac:spMk id="46" creationId="{DAD5D991-4CEF-4143-52FE-FD87F16E38D8}"/>
          </ac:spMkLst>
        </pc:spChg>
        <pc:spChg chg="mod">
          <ac:chgData name="Tường SKHĐT" userId="ab9568c39a88b08a" providerId="LiveId" clId="{24B61DD5-81B7-41F8-A7DC-70CAC367F49C}" dt="2023-06-04T08:07:07.343" v="737" actId="1076"/>
          <ac:spMkLst>
            <pc:docMk/>
            <pc:sldMk cId="3839081106" sldId="2147473738"/>
            <ac:spMk id="47" creationId="{615E2FF8-44B4-E5D2-386A-D270D5A07DA1}"/>
          </ac:spMkLst>
        </pc:spChg>
        <pc:spChg chg="mod">
          <ac:chgData name="Tường SKHĐT" userId="ab9568c39a88b08a" providerId="LiveId" clId="{24B61DD5-81B7-41F8-A7DC-70CAC367F49C}" dt="2023-06-04T08:07:10.983" v="738" actId="1076"/>
          <ac:spMkLst>
            <pc:docMk/>
            <pc:sldMk cId="3839081106" sldId="2147473738"/>
            <ac:spMk id="48" creationId="{7D127646-423A-8F39-6355-BB4B258FA23E}"/>
          </ac:spMkLst>
        </pc:spChg>
        <pc:spChg chg="del mod">
          <ac:chgData name="Tường SKHĐT" userId="ab9568c39a88b08a" providerId="LiveId" clId="{24B61DD5-81B7-41F8-A7DC-70CAC367F49C}" dt="2023-06-04T08:06:25.404" v="714" actId="478"/>
          <ac:spMkLst>
            <pc:docMk/>
            <pc:sldMk cId="3839081106" sldId="2147473738"/>
            <ac:spMk id="49" creationId="{AD11AB72-0225-23FC-63B7-476A1B443B45}"/>
          </ac:spMkLst>
        </pc:spChg>
        <pc:spChg chg="del">
          <ac:chgData name="Tường SKHĐT" userId="ab9568c39a88b08a" providerId="LiveId" clId="{24B61DD5-81B7-41F8-A7DC-70CAC367F49C}" dt="2023-06-04T08:06:22.008" v="712" actId="478"/>
          <ac:spMkLst>
            <pc:docMk/>
            <pc:sldMk cId="3839081106" sldId="2147473738"/>
            <ac:spMk id="50" creationId="{8A744C20-0ECB-9A9D-DF51-D7AFAE74AADE}"/>
          </ac:spMkLst>
        </pc:spChg>
        <pc:spChg chg="del">
          <ac:chgData name="Tường SKHĐT" userId="ab9568c39a88b08a" providerId="LiveId" clId="{24B61DD5-81B7-41F8-A7DC-70CAC367F49C}" dt="2023-06-04T08:06:35.202" v="720" actId="478"/>
          <ac:spMkLst>
            <pc:docMk/>
            <pc:sldMk cId="3839081106" sldId="2147473738"/>
            <ac:spMk id="51" creationId="{E85CDCBD-F823-98C8-7D39-4BD8ECC3B707}"/>
          </ac:spMkLst>
        </pc:spChg>
        <pc:spChg chg="mod">
          <ac:chgData name="Tường SKHĐT" userId="ab9568c39a88b08a" providerId="LiveId" clId="{24B61DD5-81B7-41F8-A7DC-70CAC367F49C}" dt="2023-06-04T08:07:17.253" v="740" actId="1076"/>
          <ac:spMkLst>
            <pc:docMk/>
            <pc:sldMk cId="3839081106" sldId="2147473738"/>
            <ac:spMk id="53" creationId="{940E7436-8D16-138B-2BFE-178612083DAB}"/>
          </ac:spMkLst>
        </pc:spChg>
        <pc:grpChg chg="add del">
          <ac:chgData name="Tường SKHĐT" userId="ab9568c39a88b08a" providerId="LiveId" clId="{24B61DD5-81B7-41F8-A7DC-70CAC367F49C}" dt="2023-06-04T08:06:29.955" v="717" actId="478"/>
          <ac:grpSpMkLst>
            <pc:docMk/>
            <pc:sldMk cId="3839081106" sldId="2147473738"/>
            <ac:grpSpMk id="11" creationId="{A056682A-FE84-E5E6-AC49-2B648878C1ED}"/>
          </ac:grpSpMkLst>
        </pc:grpChg>
      </pc:sldChg>
      <pc:sldChg chg="modSp mod">
        <pc:chgData name="Tường SKHĐT" userId="ab9568c39a88b08a" providerId="LiveId" clId="{24B61DD5-81B7-41F8-A7DC-70CAC367F49C}" dt="2023-06-04T08:21:58" v="1307" actId="20577"/>
        <pc:sldMkLst>
          <pc:docMk/>
          <pc:sldMk cId="2648267713" sldId="2147473739"/>
        </pc:sldMkLst>
        <pc:spChg chg="mod">
          <ac:chgData name="Tường SKHĐT" userId="ab9568c39a88b08a" providerId="LiveId" clId="{24B61DD5-81B7-41F8-A7DC-70CAC367F49C}" dt="2023-06-04T08:20:03.913" v="1184" actId="20577"/>
          <ac:spMkLst>
            <pc:docMk/>
            <pc:sldMk cId="2648267713" sldId="2147473739"/>
            <ac:spMk id="3" creationId="{A0D5D58A-756E-802D-A09E-1BEA6D184E77}"/>
          </ac:spMkLst>
        </pc:spChg>
        <pc:spChg chg="mod">
          <ac:chgData name="Tường SKHĐT" userId="ab9568c39a88b08a" providerId="LiveId" clId="{24B61DD5-81B7-41F8-A7DC-70CAC367F49C}" dt="2023-06-04T08:21:53.808" v="1304" actId="20577"/>
          <ac:spMkLst>
            <pc:docMk/>
            <pc:sldMk cId="2648267713" sldId="2147473739"/>
            <ac:spMk id="6" creationId="{81B6DC98-C123-5771-E46D-17ED3EE03739}"/>
          </ac:spMkLst>
        </pc:spChg>
        <pc:spChg chg="mod">
          <ac:chgData name="Tường SKHĐT" userId="ab9568c39a88b08a" providerId="LiveId" clId="{24B61DD5-81B7-41F8-A7DC-70CAC367F49C}" dt="2023-06-04T08:21:52.724" v="1303" actId="688"/>
          <ac:spMkLst>
            <pc:docMk/>
            <pc:sldMk cId="2648267713" sldId="2147473739"/>
            <ac:spMk id="7" creationId="{64BE4B93-62E9-2F63-31E4-4FC00E3A7867}"/>
          </ac:spMkLst>
        </pc:spChg>
        <pc:spChg chg="mod">
          <ac:chgData name="Tường SKHĐT" userId="ab9568c39a88b08a" providerId="LiveId" clId="{24B61DD5-81B7-41F8-A7DC-70CAC367F49C}" dt="2023-06-04T08:21:58" v="1307" actId="20577"/>
          <ac:spMkLst>
            <pc:docMk/>
            <pc:sldMk cId="2648267713" sldId="2147473739"/>
            <ac:spMk id="16" creationId="{CD1FFBD1-4EFA-ED54-8F81-E3C9559069D4}"/>
          </ac:spMkLst>
        </pc:spChg>
        <pc:spChg chg="mod">
          <ac:chgData name="Tường SKHĐT" userId="ab9568c39a88b08a" providerId="LiveId" clId="{24B61DD5-81B7-41F8-A7DC-70CAC367F49C}" dt="2023-06-04T08:18:11.828" v="1145" actId="20577"/>
          <ac:spMkLst>
            <pc:docMk/>
            <pc:sldMk cId="2648267713" sldId="2147473739"/>
            <ac:spMk id="27" creationId="{01DC26C3-E6F4-C27A-8624-3A65D81B6008}"/>
          </ac:spMkLst>
        </pc:spChg>
        <pc:spChg chg="mod">
          <ac:chgData name="Tường SKHĐT" userId="ab9568c39a88b08a" providerId="LiveId" clId="{24B61DD5-81B7-41F8-A7DC-70CAC367F49C}" dt="2023-06-04T08:20:31.784" v="1216" actId="20577"/>
          <ac:spMkLst>
            <pc:docMk/>
            <pc:sldMk cId="2648267713" sldId="2147473739"/>
            <ac:spMk id="720" creationId="{00000000-0000-0000-0000-000000000000}"/>
          </ac:spMkLst>
        </pc:spChg>
        <pc:spChg chg="mod">
          <ac:chgData name="Tường SKHĐT" userId="ab9568c39a88b08a" providerId="LiveId" clId="{24B61DD5-81B7-41F8-A7DC-70CAC367F49C}" dt="2023-06-04T08:20:55.042" v="1254" actId="20577"/>
          <ac:spMkLst>
            <pc:docMk/>
            <pc:sldMk cId="2648267713" sldId="2147473739"/>
            <ac:spMk id="726" creationId="{00000000-0000-0000-0000-000000000000}"/>
          </ac:spMkLst>
        </pc:spChg>
      </pc:sldChg>
      <pc:sldChg chg="addSp delSp modSp add mod">
        <pc:chgData name="Tường SKHĐT" userId="ab9568c39a88b08a" providerId="LiveId" clId="{24B61DD5-81B7-41F8-A7DC-70CAC367F49C}" dt="2023-06-04T04:00:00.048" v="33" actId="14100"/>
        <pc:sldMkLst>
          <pc:docMk/>
          <pc:sldMk cId="845325521" sldId="2147473744"/>
        </pc:sldMkLst>
        <pc:spChg chg="del">
          <ac:chgData name="Tường SKHĐT" userId="ab9568c39a88b08a" providerId="LiveId" clId="{24B61DD5-81B7-41F8-A7DC-70CAC367F49C}" dt="2023-06-04T03:58:18.692" v="2" actId="478"/>
          <ac:spMkLst>
            <pc:docMk/>
            <pc:sldMk cId="845325521" sldId="2147473744"/>
            <ac:spMk id="2" creationId="{FEDE0ACA-73AF-9712-028B-145C8057A697}"/>
          </ac:spMkLst>
        </pc:spChg>
        <pc:spChg chg="mod">
          <ac:chgData name="Tường SKHĐT" userId="ab9568c39a88b08a" providerId="LiveId" clId="{24B61DD5-81B7-41F8-A7DC-70CAC367F49C}" dt="2023-06-04T04:00:00.048" v="33" actId="14100"/>
          <ac:spMkLst>
            <pc:docMk/>
            <pc:sldMk cId="845325521" sldId="2147473744"/>
            <ac:spMk id="4" creationId="{5DDFB1B9-9FA7-5CF0-AB22-DCB06431AEA4}"/>
          </ac:spMkLst>
        </pc:spChg>
        <pc:spChg chg="del">
          <ac:chgData name="Tường SKHĐT" userId="ab9568c39a88b08a" providerId="LiveId" clId="{24B61DD5-81B7-41F8-A7DC-70CAC367F49C}" dt="2023-06-04T03:58:18.692" v="2" actId="478"/>
          <ac:spMkLst>
            <pc:docMk/>
            <pc:sldMk cId="845325521" sldId="2147473744"/>
            <ac:spMk id="5" creationId="{E8A78399-F64E-FDA1-AB56-855ACF72F180}"/>
          </ac:spMkLst>
        </pc:spChg>
        <pc:spChg chg="del">
          <ac:chgData name="Tường SKHĐT" userId="ab9568c39a88b08a" providerId="LiveId" clId="{24B61DD5-81B7-41F8-A7DC-70CAC367F49C}" dt="2023-06-04T03:58:18.692" v="2" actId="478"/>
          <ac:spMkLst>
            <pc:docMk/>
            <pc:sldMk cId="845325521" sldId="2147473744"/>
            <ac:spMk id="6" creationId="{E4ED8AB2-A473-1A88-1EA5-ACE8071989F9}"/>
          </ac:spMkLst>
        </pc:spChg>
        <pc:spChg chg="del">
          <ac:chgData name="Tường SKHĐT" userId="ab9568c39a88b08a" providerId="LiveId" clId="{24B61DD5-81B7-41F8-A7DC-70CAC367F49C}" dt="2023-06-04T03:58:18.692" v="2" actId="478"/>
          <ac:spMkLst>
            <pc:docMk/>
            <pc:sldMk cId="845325521" sldId="2147473744"/>
            <ac:spMk id="7" creationId="{B575D5B7-89E0-566C-C97F-CD98CCE24441}"/>
          </ac:spMkLst>
        </pc:spChg>
        <pc:spChg chg="del">
          <ac:chgData name="Tường SKHĐT" userId="ab9568c39a88b08a" providerId="LiveId" clId="{24B61DD5-81B7-41F8-A7DC-70CAC367F49C}" dt="2023-06-04T03:58:44.261" v="7" actId="21"/>
          <ac:spMkLst>
            <pc:docMk/>
            <pc:sldMk cId="845325521" sldId="2147473744"/>
            <ac:spMk id="12" creationId="{8A67A444-F448-A9A5-7360-DFFFEB3A5F6E}"/>
          </ac:spMkLst>
        </pc:spChg>
        <pc:graphicFrameChg chg="del">
          <ac:chgData name="Tường SKHĐT" userId="ab9568c39a88b08a" providerId="LiveId" clId="{24B61DD5-81B7-41F8-A7DC-70CAC367F49C}" dt="2023-06-04T03:58:16.500" v="1" actId="21"/>
          <ac:graphicFrameMkLst>
            <pc:docMk/>
            <pc:sldMk cId="845325521" sldId="2147473744"/>
            <ac:graphicFrameMk id="9" creationId="{0738877F-56EF-4DEF-B5AA-1664DC8186CF}"/>
          </ac:graphicFrameMkLst>
        </pc:graphicFrameChg>
        <pc:picChg chg="del">
          <ac:chgData name="Tường SKHĐT" userId="ab9568c39a88b08a" providerId="LiveId" clId="{24B61DD5-81B7-41F8-A7DC-70CAC367F49C}" dt="2023-06-04T03:58:50.710" v="8" actId="21"/>
          <ac:picMkLst>
            <pc:docMk/>
            <pc:sldMk cId="845325521" sldId="2147473744"/>
            <ac:picMk id="8" creationId="{F0FF1F18-3F6B-3EBD-B313-8C5EFEE64CE5}"/>
          </ac:picMkLst>
        </pc:picChg>
        <pc:picChg chg="add del mod">
          <ac:chgData name="Tường SKHĐT" userId="ab9568c39a88b08a" providerId="LiveId" clId="{24B61DD5-81B7-41F8-A7DC-70CAC367F49C}" dt="2023-06-04T03:59:35.716" v="10" actId="21"/>
          <ac:picMkLst>
            <pc:docMk/>
            <pc:sldMk cId="845325521" sldId="2147473744"/>
            <ac:picMk id="11" creationId="{D380B584-A7A7-4ABD-4972-F2C59C4F70F1}"/>
          </ac:picMkLst>
        </pc:picChg>
        <pc:picChg chg="add mod">
          <ac:chgData name="Tường SKHĐT" userId="ab9568c39a88b08a" providerId="LiveId" clId="{24B61DD5-81B7-41F8-A7DC-70CAC367F49C}" dt="2023-06-04T03:59:49.939" v="14" actId="14100"/>
          <ac:picMkLst>
            <pc:docMk/>
            <pc:sldMk cId="845325521" sldId="2147473744"/>
            <ac:picMk id="14" creationId="{54589062-7E5F-E6B5-0008-DE4C5F8C8A45}"/>
          </ac:picMkLst>
        </pc:picChg>
      </pc:sldChg>
      <pc:sldChg chg="add del">
        <pc:chgData name="Tường SKHĐT" userId="ab9568c39a88b08a" providerId="LiveId" clId="{24B61DD5-81B7-41F8-A7DC-70CAC367F49C}" dt="2023-06-04T04:25:21.739" v="238" actId="2696"/>
        <pc:sldMkLst>
          <pc:docMk/>
          <pc:sldMk cId="2078258024" sldId="2147473745"/>
        </pc:sldMkLst>
      </pc:sldChg>
      <pc:sldChg chg="delSp modSp add mod">
        <pc:chgData name="Tường SKHĐT" userId="ab9568c39a88b08a" providerId="LiveId" clId="{24B61DD5-81B7-41F8-A7DC-70CAC367F49C}" dt="2023-06-05T02:44:12.597" v="2038" actId="14100"/>
        <pc:sldMkLst>
          <pc:docMk/>
          <pc:sldMk cId="2196586738" sldId="2147473745"/>
        </pc:sldMkLst>
        <pc:graphicFrameChg chg="del mod">
          <ac:chgData name="Tường SKHĐT" userId="ab9568c39a88b08a" providerId="LiveId" clId="{24B61DD5-81B7-41F8-A7DC-70CAC367F49C}" dt="2023-06-05T02:43:56.768" v="2034" actId="21"/>
          <ac:graphicFrameMkLst>
            <pc:docMk/>
            <pc:sldMk cId="2196586738" sldId="2147473745"/>
            <ac:graphicFrameMk id="2" creationId="{6694336C-05C6-2190-E121-A78DE290DA37}"/>
          </ac:graphicFrameMkLst>
        </pc:graphicFrameChg>
        <pc:graphicFrameChg chg="del">
          <ac:chgData name="Tường SKHĐT" userId="ab9568c39a88b08a" providerId="LiveId" clId="{24B61DD5-81B7-41F8-A7DC-70CAC367F49C}" dt="2023-06-04T08:47:19.911" v="1494" actId="21"/>
          <ac:graphicFrameMkLst>
            <pc:docMk/>
            <pc:sldMk cId="2196586738" sldId="2147473745"/>
            <ac:graphicFrameMk id="2" creationId="{FBFFDBCD-49A2-B604-F9E9-B81E95DF4EB5}"/>
          </ac:graphicFrameMkLst>
        </pc:graphicFrameChg>
        <pc:graphicFrameChg chg="del mod">
          <ac:chgData name="Tường SKHĐT" userId="ab9568c39a88b08a" providerId="LiveId" clId="{24B61DD5-81B7-41F8-A7DC-70CAC367F49C}" dt="2023-06-04T08:48:52.642" v="1498" actId="21"/>
          <ac:graphicFrameMkLst>
            <pc:docMk/>
            <pc:sldMk cId="2196586738" sldId="2147473745"/>
            <ac:graphicFrameMk id="4" creationId="{2CFCDAE1-A772-CF2A-4113-D99FB3BE85B8}"/>
          </ac:graphicFrameMkLst>
        </pc:graphicFrameChg>
        <pc:graphicFrameChg chg="mod">
          <ac:chgData name="Tường SKHĐT" userId="ab9568c39a88b08a" providerId="LiveId" clId="{24B61DD5-81B7-41F8-A7DC-70CAC367F49C}" dt="2023-06-05T02:44:12.597" v="2038" actId="14100"/>
          <ac:graphicFrameMkLst>
            <pc:docMk/>
            <pc:sldMk cId="2196586738" sldId="2147473745"/>
            <ac:graphicFrameMk id="4" creationId="{9BF64355-BC13-9BDC-CD65-9C5D898845EB}"/>
          </ac:graphicFrameMkLst>
        </pc:graphicFrameChg>
        <pc:graphicFrameChg chg="del">
          <ac:chgData name="Tường SKHĐT" userId="ab9568c39a88b08a" providerId="LiveId" clId="{24B61DD5-81B7-41F8-A7DC-70CAC367F49C}" dt="2023-06-04T08:48:59.254" v="1499"/>
          <ac:graphicFrameMkLst>
            <pc:docMk/>
            <pc:sldMk cId="2196586738" sldId="2147473745"/>
            <ac:graphicFrameMk id="6" creationId="{E1F87C59-C139-EEFB-3E54-2E802D7C6597}"/>
          </ac:graphicFrameMkLst>
        </pc:graphicFrameChg>
        <pc:graphicFrameChg chg="del mod">
          <ac:chgData name="Tường SKHĐT" userId="ab9568c39a88b08a" providerId="LiveId" clId="{24B61DD5-81B7-41F8-A7DC-70CAC367F49C}" dt="2023-06-04T08:49:25.479" v="1503" actId="21"/>
          <ac:graphicFrameMkLst>
            <pc:docMk/>
            <pc:sldMk cId="2196586738" sldId="2147473745"/>
            <ac:graphicFrameMk id="7" creationId="{81551C0F-898B-1EB4-E2C0-8C9B0D5A3205}"/>
          </ac:graphicFrameMkLst>
        </pc:graphicFrameChg>
        <pc:graphicFrameChg chg="del mod">
          <ac:chgData name="Tường SKHĐT" userId="ab9568c39a88b08a" providerId="LiveId" clId="{24B61DD5-81B7-41F8-A7DC-70CAC367F49C}" dt="2023-06-05T02:42:57.973" v="2030" actId="21"/>
          <ac:graphicFrameMkLst>
            <pc:docMk/>
            <pc:sldMk cId="2196586738" sldId="2147473745"/>
            <ac:graphicFrameMk id="9" creationId="{2D9F7793-855E-A85B-6E04-A69E7450A51D}"/>
          </ac:graphicFrameMkLst>
        </pc:graphicFrameChg>
      </pc:sldChg>
      <pc:sldChg chg="modSp add mod">
        <pc:chgData name="Tường SKHĐT" userId="ab9568c39a88b08a" providerId="LiveId" clId="{24B61DD5-81B7-41F8-A7DC-70CAC367F49C}" dt="2023-06-04T08:49:54.876" v="1506" actId="1076"/>
        <pc:sldMkLst>
          <pc:docMk/>
          <pc:sldMk cId="2114474084" sldId="2147473746"/>
        </pc:sldMkLst>
        <pc:graphicFrameChg chg="mod">
          <ac:chgData name="Tường SKHĐT" userId="ab9568c39a88b08a" providerId="LiveId" clId="{24B61DD5-81B7-41F8-A7DC-70CAC367F49C}" dt="2023-06-04T08:49:54.876" v="1506" actId="1076"/>
          <ac:graphicFrameMkLst>
            <pc:docMk/>
            <pc:sldMk cId="2114474084" sldId="2147473746"/>
            <ac:graphicFrameMk id="2" creationId="{876CA5D3-433C-EA1E-7194-9EB522FA9B54}"/>
          </ac:graphicFrameMkLst>
        </pc:graphicFrameChg>
      </pc:sldChg>
      <pc:sldChg chg="delSp add mod">
        <pc:chgData name="Tường SKHĐT" userId="ab9568c39a88b08a" providerId="LiveId" clId="{24B61DD5-81B7-41F8-A7DC-70CAC367F49C}" dt="2023-06-04T08:55:00.038" v="1507" actId="21"/>
        <pc:sldMkLst>
          <pc:docMk/>
          <pc:sldMk cId="548865208" sldId="2147473747"/>
        </pc:sldMkLst>
        <pc:graphicFrameChg chg="del">
          <ac:chgData name="Tường SKHĐT" userId="ab9568c39a88b08a" providerId="LiveId" clId="{24B61DD5-81B7-41F8-A7DC-70CAC367F49C}" dt="2023-06-04T08:55:00.038" v="1507" actId="21"/>
          <ac:graphicFrameMkLst>
            <pc:docMk/>
            <pc:sldMk cId="548865208" sldId="2147473747"/>
            <ac:graphicFrameMk id="2" creationId="{93199E1A-2E67-A0D0-E47A-D8D7DAF96458}"/>
          </ac:graphicFrameMkLst>
        </pc:graphicFrameChg>
      </pc:sldChg>
      <pc:sldChg chg="add del">
        <pc:chgData name="Tường SKHĐT" userId="ab9568c39a88b08a" providerId="LiveId" clId="{24B61DD5-81B7-41F8-A7DC-70CAC367F49C}" dt="2023-06-04T09:06:44.927" v="1614" actId="2696"/>
        <pc:sldMkLst>
          <pc:docMk/>
          <pc:sldMk cId="608423761" sldId="2147473748"/>
        </pc:sldMkLst>
      </pc:sldChg>
      <pc:sldChg chg="delSp modSp add mod">
        <pc:chgData name="Tường SKHĐT" userId="ab9568c39a88b08a" providerId="LiveId" clId="{24B61DD5-81B7-41F8-A7DC-70CAC367F49C}" dt="2023-06-04T09:38:29.102" v="1880" actId="20577"/>
        <pc:sldMkLst>
          <pc:docMk/>
          <pc:sldMk cId="2148431958" sldId="2147473749"/>
        </pc:sldMkLst>
        <pc:spChg chg="del">
          <ac:chgData name="Tường SKHĐT" userId="ab9568c39a88b08a" providerId="LiveId" clId="{24B61DD5-81B7-41F8-A7DC-70CAC367F49C}" dt="2023-06-04T09:07:04.886" v="1616" actId="21"/>
          <ac:spMkLst>
            <pc:docMk/>
            <pc:sldMk cId="2148431958" sldId="2147473749"/>
            <ac:spMk id="5" creationId="{28347602-FDB0-46C8-29EB-B0A21F5E71F1}"/>
          </ac:spMkLst>
        </pc:spChg>
        <pc:spChg chg="mod">
          <ac:chgData name="Tường SKHĐT" userId="ab9568c39a88b08a" providerId="LiveId" clId="{24B61DD5-81B7-41F8-A7DC-70CAC367F49C}" dt="2023-06-04T09:07:12.673" v="1618" actId="1076"/>
          <ac:spMkLst>
            <pc:docMk/>
            <pc:sldMk cId="2148431958" sldId="2147473749"/>
            <ac:spMk id="6" creationId="{81D40E1E-E472-56C2-7A52-1D68B78E001A}"/>
          </ac:spMkLst>
        </pc:spChg>
        <pc:spChg chg="mod">
          <ac:chgData name="Tường SKHĐT" userId="ab9568c39a88b08a" providerId="LiveId" clId="{24B61DD5-81B7-41F8-A7DC-70CAC367F49C}" dt="2023-06-04T09:07:10.336" v="1617" actId="1076"/>
          <ac:spMkLst>
            <pc:docMk/>
            <pc:sldMk cId="2148431958" sldId="2147473749"/>
            <ac:spMk id="12" creationId="{9770937D-1377-CC7E-CF4C-63302C488F3E}"/>
          </ac:spMkLst>
        </pc:spChg>
        <pc:graphicFrameChg chg="modGraphic">
          <ac:chgData name="Tường SKHĐT" userId="ab9568c39a88b08a" providerId="LiveId" clId="{24B61DD5-81B7-41F8-A7DC-70CAC367F49C}" dt="2023-06-04T09:38:29.102" v="1880" actId="20577"/>
          <ac:graphicFrameMkLst>
            <pc:docMk/>
            <pc:sldMk cId="2148431958" sldId="2147473749"/>
            <ac:graphicFrameMk id="8" creationId="{B5E5335D-2EED-82AF-3A59-FAE8BB94EAE1}"/>
          </ac:graphicFrameMkLst>
        </pc:graphicFrameChg>
      </pc:sldChg>
      <pc:sldChg chg="add del">
        <pc:chgData name="Tường SKHĐT" userId="ab9568c39a88b08a" providerId="LiveId" clId="{24B61DD5-81B7-41F8-A7DC-70CAC367F49C}" dt="2023-06-04T09:08:28.994" v="1675" actId="2696"/>
        <pc:sldMkLst>
          <pc:docMk/>
          <pc:sldMk cId="1573138833" sldId="2147473750"/>
        </pc:sldMkLst>
      </pc:sldChg>
      <pc:sldChg chg="addSp delSp modSp add mod">
        <pc:chgData name="Tường SKHĐT" userId="ab9568c39a88b08a" providerId="LiveId" clId="{24B61DD5-81B7-41F8-A7DC-70CAC367F49C}" dt="2023-06-04T09:38:14.766" v="1864" actId="14100"/>
        <pc:sldMkLst>
          <pc:docMk/>
          <pc:sldMk cId="3695198589" sldId="2147473750"/>
        </pc:sldMkLst>
        <pc:spChg chg="mod">
          <ac:chgData name="Tường SKHĐT" userId="ab9568c39a88b08a" providerId="LiveId" clId="{24B61DD5-81B7-41F8-A7DC-70CAC367F49C}" dt="2023-06-04T09:09:34.172" v="1706" actId="20577"/>
          <ac:spMkLst>
            <pc:docMk/>
            <pc:sldMk cId="3695198589" sldId="2147473750"/>
            <ac:spMk id="7" creationId="{ACBD9817-7C26-4351-4F99-4699D41AD9E3}"/>
          </ac:spMkLst>
        </pc:spChg>
        <pc:graphicFrameChg chg="mod modGraphic">
          <ac:chgData name="Tường SKHĐT" userId="ab9568c39a88b08a" providerId="LiveId" clId="{24B61DD5-81B7-41F8-A7DC-70CAC367F49C}" dt="2023-06-04T09:38:14.766" v="1864" actId="14100"/>
          <ac:graphicFrameMkLst>
            <pc:docMk/>
            <pc:sldMk cId="3695198589" sldId="2147473750"/>
            <ac:graphicFrameMk id="2" creationId="{3BF8E8E2-FC7A-766D-120A-12F0136F960F}"/>
          </ac:graphicFrameMkLst>
        </pc:graphicFrameChg>
        <pc:graphicFrameChg chg="add del mod">
          <ac:chgData name="Tường SKHĐT" userId="ab9568c39a88b08a" providerId="LiveId" clId="{24B61DD5-81B7-41F8-A7DC-70CAC367F49C}" dt="2023-06-04T09:32:59.564" v="1847" actId="21"/>
          <ac:graphicFrameMkLst>
            <pc:docMk/>
            <pc:sldMk cId="3695198589" sldId="2147473750"/>
            <ac:graphicFrameMk id="3" creationId="{F947D0E0-A4E5-BC48-3CCB-9891F91DE888}"/>
          </ac:graphicFrameMkLst>
        </pc:graphicFrameChg>
        <pc:graphicFrameChg chg="del">
          <ac:chgData name="Tường SKHĐT" userId="ab9568c39a88b08a" providerId="LiveId" clId="{24B61DD5-81B7-41F8-A7DC-70CAC367F49C}" dt="2023-06-04T09:11:25.400" v="1778" actId="21"/>
          <ac:graphicFrameMkLst>
            <pc:docMk/>
            <pc:sldMk cId="3695198589" sldId="2147473750"/>
            <ac:graphicFrameMk id="4" creationId="{B0A917FD-F858-3B28-3C02-87EEC321932B}"/>
          </ac:graphicFrameMkLst>
        </pc:graphicFrameChg>
        <pc:graphicFrameChg chg="mod">
          <ac:chgData name="Tường SKHĐT" userId="ab9568c39a88b08a" providerId="LiveId" clId="{24B61DD5-81B7-41F8-A7DC-70CAC367F49C}" dt="2023-06-04T09:38:07.766" v="1853" actId="1076"/>
          <ac:graphicFrameMkLst>
            <pc:docMk/>
            <pc:sldMk cId="3695198589" sldId="2147473750"/>
            <ac:graphicFrameMk id="5" creationId="{37679C12-F1EE-757F-A161-9FA9A285B624}"/>
          </ac:graphicFrameMkLst>
        </pc:graphicFrameChg>
      </pc:sldChg>
      <pc:sldChg chg="addSp delSp modSp add mod">
        <pc:chgData name="Tường SKHĐT" userId="ab9568c39a88b08a" providerId="LiveId" clId="{24B61DD5-81B7-41F8-A7DC-70CAC367F49C}" dt="2023-06-04T09:44:49.817" v="1990" actId="14100"/>
        <pc:sldMkLst>
          <pc:docMk/>
          <pc:sldMk cId="1980939669" sldId="2147473751"/>
        </pc:sldMkLst>
        <pc:spChg chg="add mod">
          <ac:chgData name="Tường SKHĐT" userId="ab9568c39a88b08a" providerId="LiveId" clId="{24B61DD5-81B7-41F8-A7DC-70CAC367F49C}" dt="2023-06-04T09:44:21.391" v="1984" actId="1076"/>
          <ac:spMkLst>
            <pc:docMk/>
            <pc:sldMk cId="1980939669" sldId="2147473751"/>
            <ac:spMk id="3" creationId="{51D74589-AEB4-18BB-5F31-8BEC35C0C01B}"/>
          </ac:spMkLst>
        </pc:spChg>
        <pc:spChg chg="add mod">
          <ac:chgData name="Tường SKHĐT" userId="ab9568c39a88b08a" providerId="LiveId" clId="{24B61DD5-81B7-41F8-A7DC-70CAC367F49C}" dt="2023-06-04T09:44:26.107" v="1986" actId="14100"/>
          <ac:spMkLst>
            <pc:docMk/>
            <pc:sldMk cId="1980939669" sldId="2147473751"/>
            <ac:spMk id="5" creationId="{E845AC93-D73B-4F45-FD1E-D6E30972DA12}"/>
          </ac:spMkLst>
        </pc:spChg>
        <pc:spChg chg="del">
          <ac:chgData name="Tường SKHĐT" userId="ab9568c39a88b08a" providerId="LiveId" clId="{24B61DD5-81B7-41F8-A7DC-70CAC367F49C}" dt="2023-06-04T09:10:35.145" v="1711" actId="21"/>
          <ac:spMkLst>
            <pc:docMk/>
            <pc:sldMk cId="1980939669" sldId="2147473751"/>
            <ac:spMk id="7" creationId="{ACBD9817-7C26-4351-4F99-4699D41AD9E3}"/>
          </ac:spMkLst>
        </pc:spChg>
        <pc:spChg chg="del">
          <ac:chgData name="Tường SKHĐT" userId="ab9568c39a88b08a" providerId="LiveId" clId="{24B61DD5-81B7-41F8-A7DC-70CAC367F49C}" dt="2023-06-04T09:10:41.267" v="1712" actId="21"/>
          <ac:spMkLst>
            <pc:docMk/>
            <pc:sldMk cId="1980939669" sldId="2147473751"/>
            <ac:spMk id="12" creationId="{9770937D-1377-CC7E-CF4C-63302C488F3E}"/>
          </ac:spMkLst>
        </pc:spChg>
        <pc:graphicFrameChg chg="mod modGraphic">
          <ac:chgData name="Tường SKHĐT" userId="ab9568c39a88b08a" providerId="LiveId" clId="{24B61DD5-81B7-41F8-A7DC-70CAC367F49C}" dt="2023-06-04T09:44:29.291" v="1988" actId="14100"/>
          <ac:graphicFrameMkLst>
            <pc:docMk/>
            <pc:sldMk cId="1980939669" sldId="2147473751"/>
            <ac:graphicFrameMk id="2" creationId="{3BF8E8E2-FC7A-766D-120A-12F0136F960F}"/>
          </ac:graphicFrameMkLst>
        </pc:graphicFrameChg>
        <pc:graphicFrameChg chg="del">
          <ac:chgData name="Tường SKHĐT" userId="ab9568c39a88b08a" providerId="LiveId" clId="{24B61DD5-81B7-41F8-A7DC-70CAC367F49C}" dt="2023-06-04T09:11:29.676" v="1779" actId="21"/>
          <ac:graphicFrameMkLst>
            <pc:docMk/>
            <pc:sldMk cId="1980939669" sldId="2147473751"/>
            <ac:graphicFrameMk id="4" creationId="{B0A917FD-F858-3B28-3C02-87EEC321932B}"/>
          </ac:graphicFrameMkLst>
        </pc:graphicFrameChg>
        <pc:graphicFrameChg chg="add del mod">
          <ac:chgData name="Tường SKHĐT" userId="ab9568c39a88b08a" providerId="LiveId" clId="{24B61DD5-81B7-41F8-A7DC-70CAC367F49C}" dt="2023-06-04T09:39:16.339" v="1944" actId="21"/>
          <ac:graphicFrameMkLst>
            <pc:docMk/>
            <pc:sldMk cId="1980939669" sldId="2147473751"/>
            <ac:graphicFrameMk id="6" creationId="{5F498FA1-EDA0-6EB3-7A00-C16767577EC3}"/>
          </ac:graphicFrameMkLst>
        </pc:graphicFrameChg>
        <pc:graphicFrameChg chg="mod">
          <ac:chgData name="Tường SKHĐT" userId="ab9568c39a88b08a" providerId="LiveId" clId="{24B61DD5-81B7-41F8-A7DC-70CAC367F49C}" dt="2023-06-04T09:44:49.817" v="1990" actId="14100"/>
          <ac:graphicFrameMkLst>
            <pc:docMk/>
            <pc:sldMk cId="1980939669" sldId="2147473751"/>
            <ac:graphicFrameMk id="8" creationId="{9254A4BE-B2FE-9F80-DCFF-5586FAD9EA68}"/>
          </ac:graphicFrameMkLst>
        </pc:graphicFrameChg>
      </pc:sldChg>
      <pc:sldChg chg="add del">
        <pc:chgData name="Tường SKHĐT" userId="ab9568c39a88b08a" providerId="LiveId" clId="{24B61DD5-81B7-41F8-A7DC-70CAC367F49C}" dt="2023-06-05T02:14:30.676" v="1995" actId="2696"/>
        <pc:sldMkLst>
          <pc:docMk/>
          <pc:sldMk cId="175139641" sldId="2147473752"/>
        </pc:sldMkLst>
      </pc:sldChg>
      <pc:sldChg chg="add del">
        <pc:chgData name="Tường SKHĐT" userId="ab9568c39a88b08a" providerId="LiveId" clId="{24B61DD5-81B7-41F8-A7DC-70CAC367F49C}" dt="2023-06-05T02:11:37.258" v="1992"/>
        <pc:sldMkLst>
          <pc:docMk/>
          <pc:sldMk cId="318607248" sldId="2147473752"/>
        </pc:sldMkLst>
      </pc:sldChg>
      <pc:sldChg chg="delSp modSp add mod">
        <pc:chgData name="Tường SKHĐT" userId="ab9568c39a88b08a" providerId="LiveId" clId="{24B61DD5-81B7-41F8-A7DC-70CAC367F49C}" dt="2023-06-05T03:17:19.171" v="2136" actId="1076"/>
        <pc:sldMkLst>
          <pc:docMk/>
          <pc:sldMk cId="743790770" sldId="2147473752"/>
        </pc:sldMkLst>
        <pc:spChg chg="mod">
          <ac:chgData name="Tường SKHĐT" userId="ab9568c39a88b08a" providerId="LiveId" clId="{24B61DD5-81B7-41F8-A7DC-70CAC367F49C}" dt="2023-06-05T03:17:11.800" v="2134" actId="20577"/>
          <ac:spMkLst>
            <pc:docMk/>
            <pc:sldMk cId="743790770" sldId="2147473752"/>
            <ac:spMk id="3" creationId="{E2060C7B-D80B-2D4B-6C50-1215E3EA3460}"/>
          </ac:spMkLst>
        </pc:spChg>
        <pc:graphicFrameChg chg="del">
          <ac:chgData name="Tường SKHĐT" userId="ab9568c39a88b08a" providerId="LiveId" clId="{24B61DD5-81B7-41F8-A7DC-70CAC367F49C}" dt="2023-06-05T03:16:31.022" v="2041"/>
          <ac:graphicFrameMkLst>
            <pc:docMk/>
            <pc:sldMk cId="743790770" sldId="2147473752"/>
            <ac:graphicFrameMk id="2" creationId="{95F0D8E5-C11B-891F-86EA-D8B3DF6BC40F}"/>
          </ac:graphicFrameMkLst>
        </pc:graphicFrameChg>
        <pc:graphicFrameChg chg="del">
          <ac:chgData name="Tường SKHĐT" userId="ab9568c39a88b08a" providerId="LiveId" clId="{24B61DD5-81B7-41F8-A7DC-70CAC367F49C}" dt="2023-06-05T03:16:17.613" v="2040" actId="21"/>
          <ac:graphicFrameMkLst>
            <pc:docMk/>
            <pc:sldMk cId="743790770" sldId="2147473752"/>
            <ac:graphicFrameMk id="4" creationId="{9BF64355-BC13-9BDC-CD65-9C5D898845EB}"/>
          </ac:graphicFrameMkLst>
        </pc:graphicFrameChg>
        <pc:graphicFrameChg chg="mod">
          <ac:chgData name="Tường SKHĐT" userId="ab9568c39a88b08a" providerId="LiveId" clId="{24B61DD5-81B7-41F8-A7DC-70CAC367F49C}" dt="2023-06-05T03:17:19.171" v="2136" actId="1076"/>
          <ac:graphicFrameMkLst>
            <pc:docMk/>
            <pc:sldMk cId="743790770" sldId="2147473752"/>
            <ac:graphicFrameMk id="6" creationId="{065CBCFB-3E78-BDBA-FF71-FBF1174154DC}"/>
          </ac:graphicFrameMkLst>
        </pc:graphicFrameChg>
        <pc:cxnChg chg="mod">
          <ac:chgData name="Tường SKHĐT" userId="ab9568c39a88b08a" providerId="LiveId" clId="{24B61DD5-81B7-41F8-A7DC-70CAC367F49C}" dt="2023-06-05T03:17:16.289" v="2135" actId="14100"/>
          <ac:cxnSpMkLst>
            <pc:docMk/>
            <pc:sldMk cId="743790770" sldId="2147473752"/>
            <ac:cxnSpMk id="5" creationId="{B3AFD0A1-EC23-2CD8-C933-80EDD073EC21}"/>
          </ac:cxnSpMkLst>
        </pc:cxnChg>
      </pc:sldChg>
      <pc:sldChg chg="modSp add del">
        <pc:chgData name="Tường SKHĐT" userId="ab9568c39a88b08a" providerId="LiveId" clId="{24B61DD5-81B7-41F8-A7DC-70CAC367F49C}" dt="2023-06-05T03:29:55.130" v="2209" actId="2696"/>
        <pc:sldMkLst>
          <pc:docMk/>
          <pc:sldMk cId="406846084" sldId="2147473753"/>
        </pc:sldMkLst>
        <pc:graphicFrameChg chg="mod">
          <ac:chgData name="Tường SKHĐT" userId="ab9568c39a88b08a" providerId="LiveId" clId="{24B61DD5-81B7-41F8-A7DC-70CAC367F49C}" dt="2023-06-05T03:29:35.701" v="2205" actId="20577"/>
          <ac:graphicFrameMkLst>
            <pc:docMk/>
            <pc:sldMk cId="406846084" sldId="2147473753"/>
            <ac:graphicFrameMk id="6" creationId="{00000000-0000-0000-0000-000000000000}"/>
          </ac:graphicFrameMkLst>
        </pc:graphicFrameChg>
      </pc:sldChg>
      <pc:sldChg chg="modSp add">
        <pc:chgData name="Tường SKHĐT" userId="ab9568c39a88b08a" providerId="LiveId" clId="{24B61DD5-81B7-41F8-A7DC-70CAC367F49C}" dt="2023-06-05T03:33:04.266" v="2271"/>
        <pc:sldMkLst>
          <pc:docMk/>
          <pc:sldMk cId="639639902" sldId="2147473754"/>
        </pc:sldMkLst>
        <pc:graphicFrameChg chg="mod">
          <ac:chgData name="Tường SKHĐT" userId="ab9568c39a88b08a" providerId="LiveId" clId="{24B61DD5-81B7-41F8-A7DC-70CAC367F49C}" dt="2023-06-05T03:33:04.266" v="2271"/>
          <ac:graphicFrameMkLst>
            <pc:docMk/>
            <pc:sldMk cId="639639902" sldId="2147473754"/>
            <ac:graphicFrameMk id="6" creationId="{00000000-0000-0000-0000-000000000000}"/>
          </ac:graphicFrameMkLst>
        </pc:graphicFrameChg>
      </pc:sldChg>
      <pc:sldChg chg="add del">
        <pc:chgData name="Tường SKHĐT" userId="ab9568c39a88b08a" providerId="LiveId" clId="{24B61DD5-81B7-41F8-A7DC-70CAC367F49C}" dt="2023-06-05T03:29:44.546" v="2207"/>
        <pc:sldMkLst>
          <pc:docMk/>
          <pc:sldMk cId="3937824571" sldId="2147473754"/>
        </pc:sldMkLst>
      </pc:sldChg>
      <pc:sldChg chg="modSp add mod">
        <pc:chgData name="Tường SKHĐT" userId="ab9568c39a88b08a" providerId="LiveId" clId="{24B61DD5-81B7-41F8-A7DC-70CAC367F49C}" dt="2023-06-05T04:08:32.236" v="3183" actId="20577"/>
        <pc:sldMkLst>
          <pc:docMk/>
          <pc:sldMk cId="1826314785" sldId="2147473755"/>
        </pc:sldMkLst>
        <pc:spChg chg="mod">
          <ac:chgData name="Tường SKHĐT" userId="ab9568c39a88b08a" providerId="LiveId" clId="{24B61DD5-81B7-41F8-A7DC-70CAC367F49C}" dt="2023-06-05T04:05:55.856" v="3168" actId="1076"/>
          <ac:spMkLst>
            <pc:docMk/>
            <pc:sldMk cId="1826314785" sldId="2147473755"/>
            <ac:spMk id="3" creationId="{7DE9C339-0374-CDFA-118B-72A1D05AC25F}"/>
          </ac:spMkLst>
        </pc:spChg>
        <pc:spChg chg="mod">
          <ac:chgData name="Tường SKHĐT" userId="ab9568c39a88b08a" providerId="LiveId" clId="{24B61DD5-81B7-41F8-A7DC-70CAC367F49C}" dt="2023-06-05T04:05:54.184" v="3167" actId="1076"/>
          <ac:spMkLst>
            <pc:docMk/>
            <pc:sldMk cId="1826314785" sldId="2147473755"/>
            <ac:spMk id="8" creationId="{9C784448-56E3-AF56-D992-57722184ED5C}"/>
          </ac:spMkLst>
        </pc:spChg>
        <pc:graphicFrameChg chg="mod modGraphic">
          <ac:chgData name="Tường SKHĐT" userId="ab9568c39a88b08a" providerId="LiveId" clId="{24B61DD5-81B7-41F8-A7DC-70CAC367F49C}" dt="2023-06-05T04:08:32.236" v="3183" actId="20577"/>
          <ac:graphicFrameMkLst>
            <pc:docMk/>
            <pc:sldMk cId="1826314785" sldId="2147473755"/>
            <ac:graphicFrameMk id="4" creationId="{E9D7A4C3-2B51-D193-AED2-C30C6A60473F}"/>
          </ac:graphicFrameMkLst>
        </pc:graphicFrameChg>
      </pc:sldChg>
      <pc:sldChg chg="add del">
        <pc:chgData name="Tường SKHĐT" userId="ab9568c39a88b08a" providerId="LiveId" clId="{24B61DD5-81B7-41F8-A7DC-70CAC367F49C}" dt="2023-06-05T03:45:56.331" v="2577" actId="2696"/>
        <pc:sldMkLst>
          <pc:docMk/>
          <pc:sldMk cId="1904439737" sldId="2147473755"/>
        </pc:sldMkLst>
      </pc:sldChg>
      <pc:sldChg chg="add del">
        <pc:chgData name="Tường SKHĐT" userId="ab9568c39a88b08a" providerId="LiveId" clId="{24B61DD5-81B7-41F8-A7DC-70CAC367F49C}" dt="2023-06-05T03:29:44.546" v="2207"/>
        <pc:sldMkLst>
          <pc:docMk/>
          <pc:sldMk cId="2324940388" sldId="2147473755"/>
        </pc:sldMkLst>
      </pc:sldChg>
      <pc:sldChg chg="add">
        <pc:chgData name="Tường SKHĐT" userId="ab9568c39a88b08a" providerId="LiveId" clId="{24B61DD5-81B7-41F8-A7DC-70CAC367F49C}" dt="2023-06-05T04:11:46.401" v="3207" actId="2890"/>
        <pc:sldMkLst>
          <pc:docMk/>
          <pc:sldMk cId="2627039055" sldId="2147473756"/>
        </pc:sldMkLst>
      </pc:sldChg>
    </pc:docChg>
  </pc:docChgLst>
  <pc:docChgLst>
    <pc:chgData name="Bình Nguyễn Thị" userId="cc7b680b2034ed09" providerId="LiveId" clId="{531713A6-0570-4CC1-A926-11950A7985C8}"/>
    <pc:docChg chg="custSel modSld">
      <pc:chgData name="Bình Nguyễn Thị" userId="cc7b680b2034ed09" providerId="LiveId" clId="{531713A6-0570-4CC1-A926-11950A7985C8}" dt="2023-04-03T06:36:45.251" v="127" actId="5793"/>
      <pc:docMkLst>
        <pc:docMk/>
      </pc:docMkLst>
      <pc:sldChg chg="modSp mod">
        <pc:chgData name="Bình Nguyễn Thị" userId="cc7b680b2034ed09" providerId="LiveId" clId="{531713A6-0570-4CC1-A926-11950A7985C8}" dt="2023-04-03T06:27:46.965" v="62" actId="2711"/>
        <pc:sldMkLst>
          <pc:docMk/>
          <pc:sldMk cId="2891869655" sldId="2147473659"/>
        </pc:sldMkLst>
        <pc:spChg chg="mod">
          <ac:chgData name="Bình Nguyễn Thị" userId="cc7b680b2034ed09" providerId="LiveId" clId="{531713A6-0570-4CC1-A926-11950A7985C8}" dt="2023-04-03T06:27:46.965" v="62" actId="2711"/>
          <ac:spMkLst>
            <pc:docMk/>
            <pc:sldMk cId="2891869655" sldId="2147473659"/>
            <ac:spMk id="10" creationId="{2BEC6149-D931-9E5A-A070-24E0578F3267}"/>
          </ac:spMkLst>
        </pc:spChg>
      </pc:sldChg>
      <pc:sldChg chg="modSp mod">
        <pc:chgData name="Bình Nguyễn Thị" userId="cc7b680b2034ed09" providerId="LiveId" clId="{531713A6-0570-4CC1-A926-11950A7985C8}" dt="2023-04-03T06:28:05.773" v="63"/>
        <pc:sldMkLst>
          <pc:docMk/>
          <pc:sldMk cId="3797015765" sldId="2147473661"/>
        </pc:sldMkLst>
        <pc:spChg chg="mod">
          <ac:chgData name="Bình Nguyễn Thị" userId="cc7b680b2034ed09" providerId="LiveId" clId="{531713A6-0570-4CC1-A926-11950A7985C8}" dt="2023-04-03T06:28:05.773" v="63"/>
          <ac:spMkLst>
            <pc:docMk/>
            <pc:sldMk cId="3797015765" sldId="2147473661"/>
            <ac:spMk id="7" creationId="{CA70BC92-6CA9-4A1F-4B61-29A46D2A51FE}"/>
          </ac:spMkLst>
        </pc:spChg>
      </pc:sldChg>
      <pc:sldChg chg="modSp mod">
        <pc:chgData name="Bình Nguyễn Thị" userId="cc7b680b2034ed09" providerId="LiveId" clId="{531713A6-0570-4CC1-A926-11950A7985C8}" dt="2023-04-03T06:28:21.671" v="65" actId="14100"/>
        <pc:sldMkLst>
          <pc:docMk/>
          <pc:sldMk cId="3847146912" sldId="2147473680"/>
        </pc:sldMkLst>
        <pc:spChg chg="mod">
          <ac:chgData name="Bình Nguyễn Thị" userId="cc7b680b2034ed09" providerId="LiveId" clId="{531713A6-0570-4CC1-A926-11950A7985C8}" dt="2023-04-03T06:28:21.671" v="65" actId="14100"/>
          <ac:spMkLst>
            <pc:docMk/>
            <pc:sldMk cId="3847146912" sldId="2147473680"/>
            <ac:spMk id="7" creationId="{CA70BC92-6CA9-4A1F-4B61-29A46D2A51FE}"/>
          </ac:spMkLst>
        </pc:spChg>
      </pc:sldChg>
      <pc:sldChg chg="modSp mod">
        <pc:chgData name="Bình Nguyễn Thị" userId="cc7b680b2034ed09" providerId="LiveId" clId="{531713A6-0570-4CC1-A926-11950A7985C8}" dt="2023-04-03T06:28:42.645" v="68" actId="14100"/>
        <pc:sldMkLst>
          <pc:docMk/>
          <pc:sldMk cId="4134250126" sldId="2147473697"/>
        </pc:sldMkLst>
        <pc:spChg chg="mod">
          <ac:chgData name="Bình Nguyễn Thị" userId="cc7b680b2034ed09" providerId="LiveId" clId="{531713A6-0570-4CC1-A926-11950A7985C8}" dt="2023-04-03T06:28:42.645" v="68" actId="14100"/>
          <ac:spMkLst>
            <pc:docMk/>
            <pc:sldMk cId="4134250126" sldId="2147473697"/>
            <ac:spMk id="7" creationId="{380011C1-5942-C1D2-113E-8E67CF39110A}"/>
          </ac:spMkLst>
        </pc:spChg>
      </pc:sldChg>
      <pc:sldChg chg="modSp mod">
        <pc:chgData name="Bình Nguyễn Thị" userId="cc7b680b2034ed09" providerId="LiveId" clId="{531713A6-0570-4CC1-A926-11950A7985C8}" dt="2023-04-03T06:34:07.117" v="116" actId="14734"/>
        <pc:sldMkLst>
          <pc:docMk/>
          <pc:sldMk cId="707910758" sldId="2147473706"/>
        </pc:sldMkLst>
        <pc:graphicFrameChg chg="mod modGraphic">
          <ac:chgData name="Bình Nguyễn Thị" userId="cc7b680b2034ed09" providerId="LiveId" clId="{531713A6-0570-4CC1-A926-11950A7985C8}" dt="2023-04-03T06:34:07.117" v="116" actId="14734"/>
          <ac:graphicFrameMkLst>
            <pc:docMk/>
            <pc:sldMk cId="707910758" sldId="2147473706"/>
            <ac:graphicFrameMk id="7" creationId="{00000000-0000-0000-0000-000000000000}"/>
          </ac:graphicFrameMkLst>
        </pc:graphicFrameChg>
      </pc:sldChg>
      <pc:sldChg chg="modSp">
        <pc:chgData name="Bình Nguyễn Thị" userId="cc7b680b2034ed09" providerId="LiveId" clId="{531713A6-0570-4CC1-A926-11950A7985C8}" dt="2023-04-03T06:36:45.251" v="127" actId="5793"/>
        <pc:sldMkLst>
          <pc:docMk/>
          <pc:sldMk cId="1384294736" sldId="2147473707"/>
        </pc:sldMkLst>
        <pc:spChg chg="mod">
          <ac:chgData name="Bình Nguyễn Thị" userId="cc7b680b2034ed09" providerId="LiveId" clId="{531713A6-0570-4CC1-A926-11950A7985C8}" dt="2023-04-03T06:36:45.251" v="127" actId="5793"/>
          <ac:spMkLst>
            <pc:docMk/>
            <pc:sldMk cId="1384294736" sldId="2147473707"/>
            <ac:spMk id="2" creationId="{A49FA47D-1679-133E-0301-5CFB76FC4F8D}"/>
          </ac:spMkLst>
        </pc:spChg>
      </pc:sldChg>
      <pc:sldChg chg="addSp modSp mod">
        <pc:chgData name="Bình Nguyễn Thị" userId="cc7b680b2034ed09" providerId="LiveId" clId="{531713A6-0570-4CC1-A926-11950A7985C8}" dt="2023-04-03T06:30:52.862" v="88" actId="207"/>
        <pc:sldMkLst>
          <pc:docMk/>
          <pc:sldMk cId="1376140427" sldId="2147473712"/>
        </pc:sldMkLst>
        <pc:graphicFrameChg chg="add mod modGraphic">
          <ac:chgData name="Bình Nguyễn Thị" userId="cc7b680b2034ed09" providerId="LiveId" clId="{531713A6-0570-4CC1-A926-11950A7985C8}" dt="2023-04-03T06:30:52.862" v="88" actId="207"/>
          <ac:graphicFrameMkLst>
            <pc:docMk/>
            <pc:sldMk cId="1376140427" sldId="2147473712"/>
            <ac:graphicFrameMk id="2" creationId="{01E1D347-08F2-16DA-B029-A5A84E46F07B}"/>
          </ac:graphicFrameMkLst>
        </pc:graphicFrameChg>
        <pc:picChg chg="add mod">
          <ac:chgData name="Bình Nguyễn Thị" userId="cc7b680b2034ed09" providerId="LiveId" clId="{531713A6-0570-4CC1-A926-11950A7985C8}" dt="2023-04-03T06:26:31.548" v="50" actId="14100"/>
          <ac:picMkLst>
            <pc:docMk/>
            <pc:sldMk cId="1376140427" sldId="2147473712"/>
            <ac:picMk id="4" creationId="{5062DEE3-5B6A-4D86-20A6-B596F2C283B7}"/>
          </ac:picMkLst>
        </pc:picChg>
      </pc:sldChg>
    </pc:docChg>
  </pc:docChgLst>
  <pc:docChgLst>
    <pc:chgData name="Tường SKHĐT" userId="ab9568c39a88b08a" providerId="LiveId" clId="{3C50980A-2823-4A57-B544-11853B41CA75}"/>
    <pc:docChg chg="undo redo custSel addSld delSld modSld">
      <pc:chgData name="Tường SKHĐT" userId="ab9568c39a88b08a" providerId="LiveId" clId="{3C50980A-2823-4A57-B544-11853B41CA75}" dt="2023-06-09T09:08:46.574" v="1609" actId="2696"/>
      <pc:docMkLst>
        <pc:docMk/>
      </pc:docMkLst>
      <pc:sldChg chg="modSp mod">
        <pc:chgData name="Tường SKHĐT" userId="ab9568c39a88b08a" providerId="LiveId" clId="{3C50980A-2823-4A57-B544-11853B41CA75}" dt="2023-06-08T08:10:52.631" v="106" actId="20577"/>
        <pc:sldMkLst>
          <pc:docMk/>
          <pc:sldMk cId="3788652331" sldId="2147473664"/>
        </pc:sldMkLst>
        <pc:graphicFrameChg chg="mod modGraphic">
          <ac:chgData name="Tường SKHĐT" userId="ab9568c39a88b08a" providerId="LiveId" clId="{3C50980A-2823-4A57-B544-11853B41CA75}" dt="2023-06-08T08:10:52.631" v="106" actId="20577"/>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3C50980A-2823-4A57-B544-11853B41CA75}" dt="2023-06-09T09:07:53.027" v="1608" actId="20577"/>
        <pc:sldMkLst>
          <pc:docMk/>
          <pc:sldMk cId="293803616" sldId="2147473681"/>
        </pc:sldMkLst>
        <pc:graphicFrameChg chg="mod modGraphic">
          <ac:chgData name="Tường SKHĐT" userId="ab9568c39a88b08a" providerId="LiveId" clId="{3C50980A-2823-4A57-B544-11853B41CA75}" dt="2023-06-09T09:07:53.027" v="1608" actId="20577"/>
          <ac:graphicFrameMkLst>
            <pc:docMk/>
            <pc:sldMk cId="293803616" sldId="2147473681"/>
            <ac:graphicFrameMk id="8" creationId="{B5E5335D-2EED-82AF-3A59-FAE8BB94EAE1}"/>
          </ac:graphicFrameMkLst>
        </pc:graphicFrameChg>
        <pc:picChg chg="del">
          <ac:chgData name="Tường SKHĐT" userId="ab9568c39a88b08a" providerId="LiveId" clId="{3C50980A-2823-4A57-B544-11853B41CA75}" dt="2023-06-09T08:57:44.971" v="1519" actId="21"/>
          <ac:picMkLst>
            <pc:docMk/>
            <pc:sldMk cId="293803616" sldId="2147473681"/>
            <ac:picMk id="3" creationId="{9AF740F2-8657-5D2B-1E99-EF2B0034363B}"/>
          </ac:picMkLst>
        </pc:picChg>
        <pc:picChg chg="add mod">
          <ac:chgData name="Tường SKHĐT" userId="ab9568c39a88b08a" providerId="LiveId" clId="{3C50980A-2823-4A57-B544-11853B41CA75}" dt="2023-06-09T08:58:16.775" v="1526" actId="14100"/>
          <ac:picMkLst>
            <pc:docMk/>
            <pc:sldMk cId="293803616" sldId="2147473681"/>
            <ac:picMk id="4" creationId="{2C81FAAE-E980-C8BB-CACB-1B5EBE71F7DE}"/>
          </ac:picMkLst>
        </pc:picChg>
        <pc:picChg chg="mod">
          <ac:chgData name="Tường SKHĐT" userId="ab9568c39a88b08a" providerId="LiveId" clId="{3C50980A-2823-4A57-B544-11853B41CA75}" dt="2023-06-09T08:57:49.091" v="1520" actId="1076"/>
          <ac:picMkLst>
            <pc:docMk/>
            <pc:sldMk cId="293803616" sldId="2147473681"/>
            <ac:picMk id="7" creationId="{5CDE7AB5-FCC7-E08F-A14A-12072FF36A97}"/>
          </ac:picMkLst>
        </pc:picChg>
      </pc:sldChg>
      <pc:sldChg chg="del">
        <pc:chgData name="Tường SKHĐT" userId="ab9568c39a88b08a" providerId="LiveId" clId="{3C50980A-2823-4A57-B544-11853B41CA75}" dt="2023-06-09T08:51:19.780" v="1111" actId="2696"/>
        <pc:sldMkLst>
          <pc:docMk/>
          <pc:sldMk cId="2676458148" sldId="2147473686"/>
        </pc:sldMkLst>
      </pc:sldChg>
      <pc:sldChg chg="modSp mod">
        <pc:chgData name="Tường SKHĐT" userId="ab9568c39a88b08a" providerId="LiveId" clId="{3C50980A-2823-4A57-B544-11853B41CA75}" dt="2023-06-09T08:56:40.620" v="1470" actId="20577"/>
        <pc:sldMkLst>
          <pc:docMk/>
          <pc:sldMk cId="1628374629" sldId="2147473704"/>
        </pc:sldMkLst>
        <pc:graphicFrameChg chg="modGraphic">
          <ac:chgData name="Tường SKHĐT" userId="ab9568c39a88b08a" providerId="LiveId" clId="{3C50980A-2823-4A57-B544-11853B41CA75}" dt="2023-06-09T08:56:40.620" v="1470" actId="20577"/>
          <ac:graphicFrameMkLst>
            <pc:docMk/>
            <pc:sldMk cId="1628374629" sldId="2147473704"/>
            <ac:graphicFrameMk id="2" creationId="{FBFFDBCD-49A2-B604-F9E9-B81E95DF4EB5}"/>
          </ac:graphicFrameMkLst>
        </pc:graphicFrameChg>
      </pc:sldChg>
      <pc:sldChg chg="modSp mod">
        <pc:chgData name="Tường SKHĐT" userId="ab9568c39a88b08a" providerId="LiveId" clId="{3C50980A-2823-4A57-B544-11853B41CA75}" dt="2023-06-08T08:05:35.565" v="34" actId="20577"/>
        <pc:sldMkLst>
          <pc:docMk/>
          <pc:sldMk cId="964652449" sldId="2147473728"/>
        </pc:sldMkLst>
        <pc:graphicFrameChg chg="mod modGraphic">
          <ac:chgData name="Tường SKHĐT" userId="ab9568c39a88b08a" providerId="LiveId" clId="{3C50980A-2823-4A57-B544-11853B41CA75}" dt="2023-06-08T08:05:35.565" v="34" actId="20577"/>
          <ac:graphicFrameMkLst>
            <pc:docMk/>
            <pc:sldMk cId="964652449" sldId="2147473728"/>
            <ac:graphicFrameMk id="5" creationId="{B5E5335D-2EED-82AF-3A59-FAE8BB94EAE1}"/>
          </ac:graphicFrameMkLst>
        </pc:graphicFrameChg>
      </pc:sldChg>
      <pc:sldChg chg="delSp modSp del mod">
        <pc:chgData name="Tường SKHĐT" userId="ab9568c39a88b08a" providerId="LiveId" clId="{3C50980A-2823-4A57-B544-11853B41CA75}" dt="2023-06-08T08:18:58.928" v="559" actId="2696"/>
        <pc:sldMkLst>
          <pc:docMk/>
          <pc:sldMk cId="2114474084" sldId="2147473746"/>
        </pc:sldMkLst>
        <pc:graphicFrameChg chg="del">
          <ac:chgData name="Tường SKHĐT" userId="ab9568c39a88b08a" providerId="LiveId" clId="{3C50980A-2823-4A57-B544-11853B41CA75}" dt="2023-06-08T08:17:21.262" v="549" actId="21"/>
          <ac:graphicFrameMkLst>
            <pc:docMk/>
            <pc:sldMk cId="2114474084" sldId="2147473746"/>
            <ac:graphicFrameMk id="2" creationId="{876CA5D3-433C-EA1E-7194-9EB522FA9B54}"/>
          </ac:graphicFrameMkLst>
        </pc:graphicFrameChg>
        <pc:graphicFrameChg chg="del mod">
          <ac:chgData name="Tường SKHĐT" userId="ab9568c39a88b08a" providerId="LiveId" clId="{3C50980A-2823-4A57-B544-11853B41CA75}" dt="2023-06-08T08:18:01.326" v="553" actId="21"/>
          <ac:graphicFrameMkLst>
            <pc:docMk/>
            <pc:sldMk cId="2114474084" sldId="2147473746"/>
            <ac:graphicFrameMk id="4" creationId="{58F876C8-E265-CFDA-4D8D-66D5F2CCF279}"/>
          </ac:graphicFrameMkLst>
        </pc:graphicFrameChg>
        <pc:graphicFrameChg chg="mod">
          <ac:chgData name="Tường SKHĐT" userId="ab9568c39a88b08a" providerId="LiveId" clId="{3C50980A-2823-4A57-B544-11853B41CA75}" dt="2023-06-08T08:18:09.414" v="554" actId="1076"/>
          <ac:graphicFrameMkLst>
            <pc:docMk/>
            <pc:sldMk cId="2114474084" sldId="2147473746"/>
            <ac:graphicFrameMk id="6" creationId="{617BE745-903D-94A7-E6BF-70FF2808AC0E}"/>
          </ac:graphicFrameMkLst>
        </pc:graphicFrameChg>
      </pc:sldChg>
      <pc:sldChg chg="modSp mod">
        <pc:chgData name="Tường SKHĐT" userId="ab9568c39a88b08a" providerId="LiveId" clId="{3C50980A-2823-4A57-B544-11853B41CA75}" dt="2023-06-09T08:50:49.299" v="1109" actId="20577"/>
        <pc:sldMkLst>
          <pc:docMk/>
          <pc:sldMk cId="1980939669" sldId="2147473751"/>
        </pc:sldMkLst>
        <pc:graphicFrameChg chg="modGraphic">
          <ac:chgData name="Tường SKHĐT" userId="ab9568c39a88b08a" providerId="LiveId" clId="{3C50980A-2823-4A57-B544-11853B41CA75}" dt="2023-06-09T08:50:49.299" v="1109" actId="20577"/>
          <ac:graphicFrameMkLst>
            <pc:docMk/>
            <pc:sldMk cId="1980939669" sldId="2147473751"/>
            <ac:graphicFrameMk id="4" creationId="{9F8BA5CC-ECD9-7097-9746-4017ADAF9292}"/>
          </ac:graphicFrameMkLst>
        </pc:graphicFrameChg>
      </pc:sldChg>
      <pc:sldChg chg="modSp mod">
        <pc:chgData name="Tường SKHĐT" userId="ab9568c39a88b08a" providerId="LiveId" clId="{3C50980A-2823-4A57-B544-11853B41CA75}" dt="2023-06-08T08:06:23.121" v="36" actId="1036"/>
        <pc:sldMkLst>
          <pc:docMk/>
          <pc:sldMk cId="2710295661" sldId="2147473788"/>
        </pc:sldMkLst>
        <pc:graphicFrameChg chg="mod">
          <ac:chgData name="Tường SKHĐT" userId="ab9568c39a88b08a" providerId="LiveId" clId="{3C50980A-2823-4A57-B544-11853B41CA75}" dt="2023-06-08T08:06:23.121" v="36" actId="1036"/>
          <ac:graphicFrameMkLst>
            <pc:docMk/>
            <pc:sldMk cId="2710295661" sldId="2147473788"/>
            <ac:graphicFrameMk id="2" creationId="{0C996FA6-9C08-A387-356B-3D6804031C5B}"/>
          </ac:graphicFrameMkLst>
        </pc:graphicFrameChg>
      </pc:sldChg>
      <pc:sldChg chg="modSp mod">
        <pc:chgData name="Tường SKHĐT" userId="ab9568c39a88b08a" providerId="LiveId" clId="{3C50980A-2823-4A57-B544-11853B41CA75}" dt="2023-06-08T08:06:34.196" v="37" actId="1076"/>
        <pc:sldMkLst>
          <pc:docMk/>
          <pc:sldMk cId="1616590400" sldId="2147473793"/>
        </pc:sldMkLst>
        <pc:spChg chg="mod">
          <ac:chgData name="Tường SKHĐT" userId="ab9568c39a88b08a" providerId="LiveId" clId="{3C50980A-2823-4A57-B544-11853B41CA75}" dt="2023-06-08T08:06:34.196" v="37" actId="1076"/>
          <ac:spMkLst>
            <pc:docMk/>
            <pc:sldMk cId="1616590400" sldId="2147473793"/>
            <ac:spMk id="2" creationId="{BB7D8E9C-B3F6-DD25-25B6-76818EE92AE6}"/>
          </ac:spMkLst>
        </pc:spChg>
        <pc:graphicFrameChg chg="modGraphic">
          <ac:chgData name="Tường SKHĐT" userId="ab9568c39a88b08a" providerId="LiveId" clId="{3C50980A-2823-4A57-B544-11853B41CA75}" dt="2023-06-08T07:55:13.853" v="11" actId="20577"/>
          <ac:graphicFrameMkLst>
            <pc:docMk/>
            <pc:sldMk cId="1616590400" sldId="2147473793"/>
            <ac:graphicFrameMk id="3" creationId="{2B60E389-3C15-E216-2343-FACD1755B5AD}"/>
          </ac:graphicFrameMkLst>
        </pc:graphicFrameChg>
      </pc:sldChg>
      <pc:sldChg chg="modSp mod">
        <pc:chgData name="Tường SKHĐT" userId="ab9568c39a88b08a" providerId="LiveId" clId="{3C50980A-2823-4A57-B544-11853B41CA75}" dt="2023-06-09T02:13:56.457" v="1103" actId="11"/>
        <pc:sldMkLst>
          <pc:docMk/>
          <pc:sldMk cId="2895207599" sldId="2147473794"/>
        </pc:sldMkLst>
        <pc:spChg chg="mod">
          <ac:chgData name="Tường SKHĐT" userId="ab9568c39a88b08a" providerId="LiveId" clId="{3C50980A-2823-4A57-B544-11853B41CA75}" dt="2023-06-08T07:52:23.107" v="2" actId="1076"/>
          <ac:spMkLst>
            <pc:docMk/>
            <pc:sldMk cId="2895207599" sldId="2147473794"/>
            <ac:spMk id="2" creationId="{BB7D8E9C-B3F6-DD25-25B6-76818EE92AE6}"/>
          </ac:spMkLst>
        </pc:spChg>
        <pc:graphicFrameChg chg="mod modGraphic">
          <ac:chgData name="Tường SKHĐT" userId="ab9568c39a88b08a" providerId="LiveId" clId="{3C50980A-2823-4A57-B544-11853B41CA75}" dt="2023-06-09T02:13:56.457" v="1103" actId="11"/>
          <ac:graphicFrameMkLst>
            <pc:docMk/>
            <pc:sldMk cId="2895207599" sldId="2147473794"/>
            <ac:graphicFrameMk id="3" creationId="{2B60E389-3C15-E216-2343-FACD1755B5AD}"/>
          </ac:graphicFrameMkLst>
        </pc:graphicFrameChg>
      </pc:sldChg>
      <pc:sldChg chg="modSp mod">
        <pc:chgData name="Tường SKHĐT" userId="ab9568c39a88b08a" providerId="LiveId" clId="{3C50980A-2823-4A57-B544-11853B41CA75}" dt="2023-06-09T08:51:52.321" v="1118" actId="20577"/>
        <pc:sldMkLst>
          <pc:docMk/>
          <pc:sldMk cId="2339715236" sldId="2147473795"/>
        </pc:sldMkLst>
        <pc:spChg chg="mod">
          <ac:chgData name="Tường SKHĐT" userId="ab9568c39a88b08a" providerId="LiveId" clId="{3C50980A-2823-4A57-B544-11853B41CA75}" dt="2023-06-09T08:51:52.321" v="1118" actId="20577"/>
          <ac:spMkLst>
            <pc:docMk/>
            <pc:sldMk cId="2339715236" sldId="2147473795"/>
            <ac:spMk id="9" creationId="{58F24AD0-F007-A590-583C-27B1A4CE0310}"/>
          </ac:spMkLst>
        </pc:spChg>
      </pc:sldChg>
      <pc:sldChg chg="delSp modSp add mod">
        <pc:chgData name="Tường SKHĐT" userId="ab9568c39a88b08a" providerId="LiveId" clId="{3C50980A-2823-4A57-B544-11853B41CA75}" dt="2023-06-08T08:18:54.527" v="558" actId="1076"/>
        <pc:sldMkLst>
          <pc:docMk/>
          <pc:sldMk cId="1326740925" sldId="2147473796"/>
        </pc:sldMkLst>
        <pc:graphicFrameChg chg="del">
          <ac:chgData name="Tường SKHĐT" userId="ab9568c39a88b08a" providerId="LiveId" clId="{3C50980A-2823-4A57-B544-11853B41CA75}" dt="2023-06-08T08:18:33.301" v="555" actId="21"/>
          <ac:graphicFrameMkLst>
            <pc:docMk/>
            <pc:sldMk cId="1326740925" sldId="2147473796"/>
            <ac:graphicFrameMk id="2" creationId="{876CA5D3-433C-EA1E-7194-9EB522FA9B54}"/>
          </ac:graphicFrameMkLst>
        </pc:graphicFrameChg>
        <pc:graphicFrameChg chg="del mod">
          <ac:chgData name="Tường SKHĐT" userId="ab9568c39a88b08a" providerId="LiveId" clId="{3C50980A-2823-4A57-B544-11853B41CA75}" dt="2023-06-08T08:18:45.677" v="557" actId="21"/>
          <ac:graphicFrameMkLst>
            <pc:docMk/>
            <pc:sldMk cId="1326740925" sldId="2147473796"/>
            <ac:graphicFrameMk id="4" creationId="{ACC29D68-47AA-B73C-DB91-D5EB422A41B7}"/>
          </ac:graphicFrameMkLst>
        </pc:graphicFrameChg>
        <pc:graphicFrameChg chg="mod">
          <ac:chgData name="Tường SKHĐT" userId="ab9568c39a88b08a" providerId="LiveId" clId="{3C50980A-2823-4A57-B544-11853B41CA75}" dt="2023-06-08T08:18:54.527" v="558" actId="1076"/>
          <ac:graphicFrameMkLst>
            <pc:docMk/>
            <pc:sldMk cId="1326740925" sldId="2147473796"/>
            <ac:graphicFrameMk id="6" creationId="{05B8F3CC-E373-3C53-E1F6-46E71BC4B5E0}"/>
          </ac:graphicFrameMkLst>
        </pc:graphicFrameChg>
      </pc:sldChg>
      <pc:sldChg chg="addSp delSp modSp add del mod">
        <pc:chgData name="Tường SKHĐT" userId="ab9568c39a88b08a" providerId="LiveId" clId="{3C50980A-2823-4A57-B544-11853B41CA75}" dt="2023-06-09T09:08:46.574" v="1609" actId="2696"/>
        <pc:sldMkLst>
          <pc:docMk/>
          <pc:sldMk cId="3876756782" sldId="2147473797"/>
        </pc:sldMkLst>
        <pc:spChg chg="mod">
          <ac:chgData name="Tường SKHĐT" userId="ab9568c39a88b08a" providerId="LiveId" clId="{3C50980A-2823-4A57-B544-11853B41CA75}" dt="2023-06-09T00:39:10.543" v="583" actId="1076"/>
          <ac:spMkLst>
            <pc:docMk/>
            <pc:sldMk cId="3876756782" sldId="2147473797"/>
            <ac:spMk id="9" creationId="{58F24AD0-F007-A590-583C-27B1A4CE0310}"/>
          </ac:spMkLst>
        </pc:spChg>
        <pc:graphicFrameChg chg="add del mod">
          <ac:chgData name="Tường SKHĐT" userId="ab9568c39a88b08a" providerId="LiveId" clId="{3C50980A-2823-4A57-B544-11853B41CA75}" dt="2023-06-09T00:38:16.753" v="566"/>
          <ac:graphicFrameMkLst>
            <pc:docMk/>
            <pc:sldMk cId="3876756782" sldId="2147473797"/>
            <ac:graphicFrameMk id="2" creationId="{FBCE9CAC-32D3-C78A-A6D5-774F38C95800}"/>
          </ac:graphicFrameMkLst>
        </pc:graphicFrameChg>
        <pc:graphicFrameChg chg="mod modGraphic">
          <ac:chgData name="Tường SKHĐT" userId="ab9568c39a88b08a" providerId="LiveId" clId="{3C50980A-2823-4A57-B544-11853B41CA75}" dt="2023-06-09T00:42:07.953" v="762"/>
          <ac:graphicFrameMkLst>
            <pc:docMk/>
            <pc:sldMk cId="3876756782" sldId="2147473797"/>
            <ac:graphicFrameMk id="3" creationId="{1243D2EC-FD70-31EF-486E-0289B57D5A19}"/>
          </ac:graphicFrameMkLst>
        </pc:graphicFrameChg>
        <pc:graphicFrameChg chg="del">
          <ac:chgData name="Tường SKHĐT" userId="ab9568c39a88b08a" providerId="LiveId" clId="{3C50980A-2823-4A57-B544-11853B41CA75}" dt="2023-06-09T00:38:09.297" v="561" actId="21"/>
          <ac:graphicFrameMkLst>
            <pc:docMk/>
            <pc:sldMk cId="3876756782" sldId="2147473797"/>
            <ac:graphicFrameMk id="5" creationId="{451E805E-275E-1A0E-FDC4-B15B1F672CF6}"/>
          </ac:graphicFrameMkLst>
        </pc:graphicFrameChg>
      </pc:sldChg>
      <pc:sldChg chg="modSp add del mod">
        <pc:chgData name="Tường SKHĐT" userId="ab9568c39a88b08a" providerId="LiveId" clId="{3C50980A-2823-4A57-B544-11853B41CA75}" dt="2023-06-09T08:51:48.869" v="1116" actId="2696"/>
        <pc:sldMkLst>
          <pc:docMk/>
          <pc:sldMk cId="2645109266" sldId="2147473798"/>
        </pc:sldMkLst>
        <pc:spChg chg="mod">
          <ac:chgData name="Tường SKHĐT" userId="ab9568c39a88b08a" providerId="LiveId" clId="{3C50980A-2823-4A57-B544-11853B41CA75}" dt="2023-06-09T00:42:22.974" v="765" actId="20577"/>
          <ac:spMkLst>
            <pc:docMk/>
            <pc:sldMk cId="2645109266" sldId="2147473798"/>
            <ac:spMk id="9" creationId="{58F24AD0-F007-A590-583C-27B1A4CE0310}"/>
          </ac:spMkLst>
        </pc:spChg>
        <pc:graphicFrameChg chg="mod modGraphic">
          <ac:chgData name="Tường SKHĐT" userId="ab9568c39a88b08a" providerId="LiveId" clId="{3C50980A-2823-4A57-B544-11853B41CA75}" dt="2023-06-09T00:42:12.519" v="763" actId="108"/>
          <ac:graphicFrameMkLst>
            <pc:docMk/>
            <pc:sldMk cId="2645109266" sldId="2147473798"/>
            <ac:graphicFrameMk id="3" creationId="{1243D2EC-FD70-31EF-486E-0289B57D5A19}"/>
          </ac:graphicFrameMkLst>
        </pc:graphicFrameChg>
      </pc:sldChg>
      <pc:sldChg chg="addSp delSp modSp add mod">
        <pc:chgData name="Tường SKHĐT" userId="ab9568c39a88b08a" providerId="LiveId" clId="{3C50980A-2823-4A57-B544-11853B41CA75}" dt="2023-06-09T08:56:06.402" v="1420" actId="1076"/>
        <pc:sldMkLst>
          <pc:docMk/>
          <pc:sldMk cId="3334048373" sldId="2147473799"/>
        </pc:sldMkLst>
        <pc:spChg chg="add mod">
          <ac:chgData name="Tường SKHĐT" userId="ab9568c39a88b08a" providerId="LiveId" clId="{3C50980A-2823-4A57-B544-11853B41CA75}" dt="2023-06-09T08:51:30.013" v="1113"/>
          <ac:spMkLst>
            <pc:docMk/>
            <pc:sldMk cId="3334048373" sldId="2147473799"/>
            <ac:spMk id="2" creationId="{D6387476-2546-785C-CFDD-8BF4E6FF3F9C}"/>
          </ac:spMkLst>
        </pc:spChg>
        <pc:spChg chg="add mod">
          <ac:chgData name="Tường SKHĐT" userId="ab9568c39a88b08a" providerId="LiveId" clId="{3C50980A-2823-4A57-B544-11853B41CA75}" dt="2023-06-09T08:51:30.013" v="1113"/>
          <ac:spMkLst>
            <pc:docMk/>
            <pc:sldMk cId="3334048373" sldId="2147473799"/>
            <ac:spMk id="4" creationId="{46B6E1F4-F206-B042-DDA5-71C9CBE1810E}"/>
          </ac:spMkLst>
        </pc:spChg>
        <pc:spChg chg="del mod">
          <ac:chgData name="Tường SKHĐT" userId="ab9568c39a88b08a" providerId="LiveId" clId="{3C50980A-2823-4A57-B544-11853B41CA75}" dt="2023-06-09T08:51:42.448" v="1115" actId="21"/>
          <ac:spMkLst>
            <pc:docMk/>
            <pc:sldMk cId="3334048373" sldId="2147473799"/>
            <ac:spMk id="9" creationId="{58F24AD0-F007-A590-583C-27B1A4CE0310}"/>
          </ac:spMkLst>
        </pc:spChg>
        <pc:graphicFrameChg chg="mod modGraphic">
          <ac:chgData name="Tường SKHĐT" userId="ab9568c39a88b08a" providerId="LiveId" clId="{3C50980A-2823-4A57-B544-11853B41CA75}" dt="2023-06-09T08:56:06.402" v="1420" actId="1076"/>
          <ac:graphicFrameMkLst>
            <pc:docMk/>
            <pc:sldMk cId="3334048373" sldId="2147473799"/>
            <ac:graphicFrameMk id="3" creationId="{1243D2EC-FD70-31EF-486E-0289B57D5A19}"/>
          </ac:graphicFrameMkLst>
        </pc:graphicFrameChg>
      </pc:sldChg>
    </pc:docChg>
  </pc:docChgLst>
  <pc:docChgLst>
    <pc:chgData name="Tường SKHĐT" userId="ab9568c39a88b08a" providerId="LiveId" clId="{6D2A045D-A6DF-4B61-9141-2372B3713035}"/>
    <pc:docChg chg="undo custSel modSld">
      <pc:chgData name="Tường SKHĐT" userId="ab9568c39a88b08a" providerId="LiveId" clId="{6D2A045D-A6DF-4B61-9141-2372B3713035}" dt="2023-06-14T07:51:11.032" v="26" actId="688"/>
      <pc:docMkLst>
        <pc:docMk/>
      </pc:docMkLst>
      <pc:sldChg chg="addSp delSp modSp mod">
        <pc:chgData name="Tường SKHĐT" userId="ab9568c39a88b08a" providerId="LiveId" clId="{6D2A045D-A6DF-4B61-9141-2372B3713035}" dt="2023-06-14T07:51:11.032" v="26" actId="688"/>
        <pc:sldMkLst>
          <pc:docMk/>
          <pc:sldMk cId="595962106" sldId="2147473854"/>
        </pc:sldMkLst>
        <pc:spChg chg="del">
          <ac:chgData name="Tường SKHĐT" userId="ab9568c39a88b08a" providerId="LiveId" clId="{6D2A045D-A6DF-4B61-9141-2372B3713035}" dt="2023-06-14T07:50:57.521" v="22" actId="21"/>
          <ac:spMkLst>
            <pc:docMk/>
            <pc:sldMk cId="595962106" sldId="2147473854"/>
            <ac:spMk id="7" creationId="{64BE4B93-62E9-2F63-31E4-4FC00E3A7867}"/>
          </ac:spMkLst>
        </pc:spChg>
        <pc:spChg chg="add mod">
          <ac:chgData name="Tường SKHĐT" userId="ab9568c39a88b08a" providerId="LiveId" clId="{6D2A045D-A6DF-4B61-9141-2372B3713035}" dt="2023-06-14T07:50:21.557" v="17" actId="1076"/>
          <ac:spMkLst>
            <pc:docMk/>
            <pc:sldMk cId="595962106" sldId="2147473854"/>
            <ac:spMk id="8" creationId="{B8FB4290-57FC-2558-7A55-FDD4B3AD5084}"/>
          </ac:spMkLst>
        </pc:spChg>
        <pc:spChg chg="add mod">
          <ac:chgData name="Tường SKHĐT" userId="ab9568c39a88b08a" providerId="LiveId" clId="{6D2A045D-A6DF-4B61-9141-2372B3713035}" dt="2023-06-14T07:50:35.288" v="21" actId="688"/>
          <ac:spMkLst>
            <pc:docMk/>
            <pc:sldMk cId="595962106" sldId="2147473854"/>
            <ac:spMk id="9" creationId="{DC9728D2-9FA3-9BE1-84A8-EE573067CDA5}"/>
          </ac:spMkLst>
        </pc:spChg>
        <pc:spChg chg="add mod">
          <ac:chgData name="Tường SKHĐT" userId="ab9568c39a88b08a" providerId="LiveId" clId="{6D2A045D-A6DF-4B61-9141-2372B3713035}" dt="2023-06-14T07:51:11.032" v="26" actId="688"/>
          <ac:spMkLst>
            <pc:docMk/>
            <pc:sldMk cId="595962106" sldId="2147473854"/>
            <ac:spMk id="10" creationId="{1E41EBCE-1ACE-56B8-F489-0F5C63BC1FBF}"/>
          </ac:spMkLst>
        </pc:spChg>
        <pc:spChg chg="del">
          <ac:chgData name="Tường SKHĐT" userId="ab9568c39a88b08a" providerId="LiveId" clId="{6D2A045D-A6DF-4B61-9141-2372B3713035}" dt="2023-06-14T07:50:05.245" v="11" actId="21"/>
          <ac:spMkLst>
            <pc:docMk/>
            <pc:sldMk cId="595962106" sldId="2147473854"/>
            <ac:spMk id="19" creationId="{122A9A1C-AFFE-3821-B2D0-B1BF037AF2EA}"/>
          </ac:spMkLst>
        </pc:spChg>
        <pc:spChg chg="del">
          <ac:chgData name="Tường SKHĐT" userId="ab9568c39a88b08a" providerId="LiveId" clId="{6D2A045D-A6DF-4B61-9141-2372B3713035}" dt="2023-06-14T07:50:25.329" v="18" actId="21"/>
          <ac:spMkLst>
            <pc:docMk/>
            <pc:sldMk cId="595962106" sldId="2147473854"/>
            <ac:spMk id="20" creationId="{9EFE970E-0B98-B556-3A4B-E26C7CAD10CA}"/>
          </ac:spMkLst>
        </pc:spChg>
        <pc:spChg chg="mod">
          <ac:chgData name="Tường SKHĐT" userId="ab9568c39a88b08a" providerId="LiveId" clId="{6D2A045D-A6DF-4B61-9141-2372B3713035}" dt="2023-06-14T07:50:00.813" v="10" actId="20577"/>
          <ac:spMkLst>
            <pc:docMk/>
            <pc:sldMk cId="595962106" sldId="2147473854"/>
            <ac:spMk id="720"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PC\Desktop\Du%20lieu%20bao%20cao%20slide%2025.7.20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PC\Desktop\Du%20lieu%20bao%20cao%20slide%2025.7.202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1-1F1E-40EB-BDE1-B7AE34174EF1}"/>
              </c:ext>
            </c:extLst>
          </c:dPt>
          <c:dPt>
            <c:idx val="2"/>
            <c:invertIfNegative val="0"/>
            <c:bubble3D val="0"/>
            <c:spPr>
              <a:solidFill>
                <a:srgbClr val="FF0000"/>
              </a:solidFill>
              <a:ln>
                <a:noFill/>
              </a:ln>
              <a:effectLst/>
            </c:spPr>
            <c:extLst>
              <c:ext xmlns:c16="http://schemas.microsoft.com/office/drawing/2014/chart" uri="{C3380CC4-5D6E-409C-BE32-E72D297353CC}">
                <c16:uniqueId val="{00000003-1F1E-40EB-BDE1-B7AE34174EF1}"/>
              </c:ext>
            </c:extLst>
          </c:dPt>
          <c:dPt>
            <c:idx val="3"/>
            <c:invertIfNegative val="0"/>
            <c:bubble3D val="0"/>
            <c:spPr>
              <a:solidFill>
                <a:srgbClr val="FF0000"/>
              </a:solidFill>
              <a:ln>
                <a:noFill/>
              </a:ln>
              <a:effectLst/>
            </c:spPr>
            <c:extLst>
              <c:ext xmlns:c16="http://schemas.microsoft.com/office/drawing/2014/chart" uri="{C3380CC4-5D6E-409C-BE32-E72D297353CC}">
                <c16:uniqueId val="{00000005-1F1E-40EB-BDE1-B7AE34174EF1}"/>
              </c:ext>
            </c:extLst>
          </c:dPt>
          <c:dPt>
            <c:idx val="4"/>
            <c:invertIfNegative val="0"/>
            <c:bubble3D val="0"/>
            <c:spPr>
              <a:solidFill>
                <a:srgbClr val="FF0000"/>
              </a:solidFill>
              <a:ln>
                <a:noFill/>
              </a:ln>
              <a:effectLst/>
            </c:spPr>
            <c:extLst>
              <c:ext xmlns:c16="http://schemas.microsoft.com/office/drawing/2014/chart" uri="{C3380CC4-5D6E-409C-BE32-E72D297353CC}">
                <c16:uniqueId val="{00000007-1F1E-40EB-BDE1-B7AE34174EF1}"/>
              </c:ext>
            </c:extLst>
          </c:dPt>
          <c:dPt>
            <c:idx val="5"/>
            <c:invertIfNegative val="0"/>
            <c:bubble3D val="0"/>
            <c:spPr>
              <a:solidFill>
                <a:srgbClr val="FF0000"/>
              </a:solidFill>
              <a:ln>
                <a:noFill/>
              </a:ln>
              <a:effectLst/>
            </c:spPr>
            <c:extLst>
              <c:ext xmlns:c16="http://schemas.microsoft.com/office/drawing/2014/chart" uri="{C3380CC4-5D6E-409C-BE32-E72D297353CC}">
                <c16:uniqueId val="{00000009-1F1E-40EB-BDE1-B7AE34174EF1}"/>
              </c:ext>
            </c:extLst>
          </c:dPt>
          <c:dPt>
            <c:idx val="6"/>
            <c:invertIfNegative val="0"/>
            <c:bubble3D val="0"/>
            <c:spPr>
              <a:solidFill>
                <a:srgbClr val="FF0000"/>
              </a:solidFill>
              <a:ln>
                <a:noFill/>
              </a:ln>
              <a:effectLst/>
            </c:spPr>
            <c:extLst>
              <c:ext xmlns:c16="http://schemas.microsoft.com/office/drawing/2014/chart" uri="{C3380CC4-5D6E-409C-BE32-E72D297353CC}">
                <c16:uniqueId val="{0000000B-1F1E-40EB-BDE1-B7AE34174EF1}"/>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2060"/>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B$14:$B$119</c:f>
              <c:strCache>
                <c:ptCount val="7"/>
                <c:pt idx="0">
                  <c:v>TỔNG SỐ VỐN TỈNH QUẢN LÝ CHIA THEO NGUỒN</c:v>
                </c:pt>
                <c:pt idx="1">
                  <c:v>VỐN NGÂN SÁCH ĐỊA PHƯƠNG</c:v>
                </c:pt>
                <c:pt idx="2">
                  <c:v>VỐN TRUNG ƯƠNG HTMT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Sheet3!$AN$14:$AN$119</c:f>
              <c:numCache>
                <c:formatCode>#,##0.00</c:formatCode>
                <c:ptCount val="7"/>
                <c:pt idx="0">
                  <c:v>40.898112365184048</c:v>
                </c:pt>
                <c:pt idx="1">
                  <c:v>37.148347848855387</c:v>
                </c:pt>
                <c:pt idx="2">
                  <c:v>60.10460222273516</c:v>
                </c:pt>
                <c:pt idx="3">
                  <c:v>30.898016997167137</c:v>
                </c:pt>
                <c:pt idx="4">
                  <c:v>29.872239130861349</c:v>
                </c:pt>
                <c:pt idx="5">
                  <c:v>68.930050313905326</c:v>
                </c:pt>
                <c:pt idx="6">
                  <c:v>42.961516172651372</c:v>
                </c:pt>
              </c:numCache>
            </c:numRef>
          </c:val>
          <c:extLst>
            <c:ext xmlns:c16="http://schemas.microsoft.com/office/drawing/2014/chart" uri="{C3380CC4-5D6E-409C-BE32-E72D297353CC}">
              <c16:uniqueId val="{0000000C-1F1E-40EB-BDE1-B7AE34174EF1}"/>
            </c:ext>
          </c:extLst>
        </c:ser>
        <c:dLbls>
          <c:dLblPos val="outEnd"/>
          <c:showLegendKey val="0"/>
          <c:showVal val="1"/>
          <c:showCatName val="0"/>
          <c:showSerName val="0"/>
          <c:showPercent val="0"/>
          <c:showBubbleSize val="0"/>
        </c:dLbls>
        <c:gapWidth val="219"/>
        <c:overlap val="-27"/>
        <c:axId val="248828496"/>
        <c:axId val="248830896"/>
      </c:barChart>
      <c:catAx>
        <c:axId val="248828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vi-VN"/>
          </a:p>
        </c:txPr>
        <c:crossAx val="248830896"/>
        <c:crosses val="autoZero"/>
        <c:auto val="1"/>
        <c:lblAlgn val="ctr"/>
        <c:lblOffset val="100"/>
        <c:noMultiLvlLbl val="0"/>
      </c:catAx>
      <c:valAx>
        <c:axId val="2488308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rgbClr val="FF0000"/>
                    </a:solidFill>
                    <a:latin typeface="+mn-lt"/>
                    <a:ea typeface="+mn-ea"/>
                    <a:cs typeface="+mn-cs"/>
                  </a:defRPr>
                </a:pPr>
                <a:r>
                  <a:rPr lang="en-US" b="1">
                    <a:solidFill>
                      <a:srgbClr val="FF0000"/>
                    </a:solidFill>
                  </a:rPr>
                  <a:t>Tỷ</a:t>
                </a:r>
                <a:r>
                  <a:rPr lang="en-US" b="1" baseline="0">
                    <a:solidFill>
                      <a:srgbClr val="FF0000"/>
                    </a:solidFill>
                  </a:rPr>
                  <a:t> lệ %</a:t>
                </a:r>
                <a:endParaRPr lang="vi-VN" b="1">
                  <a:solidFill>
                    <a:srgbClr val="FF0000"/>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FF0000"/>
                  </a:solidFill>
                  <a:latin typeface="+mn-lt"/>
                  <a:ea typeface="+mn-ea"/>
                  <a:cs typeface="+mn-cs"/>
                </a:defRPr>
              </a:pPr>
              <a:endParaRPr lang="vi-VN"/>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248828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BD82-421C-9033-1B653F4647EF}"/>
              </c:ext>
            </c:extLst>
          </c:dPt>
          <c:dLbls>
            <c:spPr>
              <a:noFill/>
              <a:ln>
                <a:noFill/>
              </a:ln>
              <a:effectLst/>
            </c:spPr>
            <c:txPr>
              <a:bodyPr rot="0" spcFirstLastPara="1" vertOverflow="ellipsis" vert="horz" wrap="square" lIns="38100" tIns="19050" rIns="38100" bIns="19050" anchor="ctr" anchorCtr="1">
                <a:spAutoFit/>
              </a:bodyPr>
              <a:lstStyle/>
              <a:p>
                <a:pPr>
                  <a:defRPr sz="900" b="1" i="1"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03-tỉnh phân cấp.28.6.23'!$B$7:$B$18</c:f>
              <c:strCache>
                <c:ptCount val="12"/>
                <c:pt idx="0">
                  <c:v>TỔNG CỘNG</c:v>
                </c:pt>
                <c:pt idx="1">
                  <c:v>UBND huyện Hoài Ân</c:v>
                </c:pt>
                <c:pt idx="2">
                  <c:v>UBND huyện Phù Cát</c:v>
                </c:pt>
                <c:pt idx="3">
                  <c:v>UBND huyện Phù Mỹ</c:v>
                </c:pt>
                <c:pt idx="4">
                  <c:v>UBND huyện Vĩnh Thạnh</c:v>
                </c:pt>
                <c:pt idx="5">
                  <c:v>UBND TP Quy Nhơn</c:v>
                </c:pt>
                <c:pt idx="6">
                  <c:v>UBND huyện An Lão</c:v>
                </c:pt>
                <c:pt idx="7">
                  <c:v>UBND huyện Tuy Phước</c:v>
                </c:pt>
                <c:pt idx="8">
                  <c:v>UBND thị xã Hoài Nhơn</c:v>
                </c:pt>
                <c:pt idx="9">
                  <c:v>UBND thị xã An Nhơn</c:v>
                </c:pt>
                <c:pt idx="10">
                  <c:v>UBND huyện Vân Canh</c:v>
                </c:pt>
                <c:pt idx="11">
                  <c:v>UBND huyện Tây Sơn</c:v>
                </c:pt>
              </c:strCache>
            </c:strRef>
          </c:cat>
          <c:val>
            <c:numRef>
              <c:f>'pl03-tỉnh phân cấp.28.6.23'!$AF$7:$AF$18</c:f>
              <c:numCache>
                <c:formatCode>0.00</c:formatCode>
                <c:ptCount val="12"/>
                <c:pt idx="0">
                  <c:v>31.133739442139007</c:v>
                </c:pt>
                <c:pt idx="1">
                  <c:v>49.842266080182021</c:v>
                </c:pt>
                <c:pt idx="2">
                  <c:v>47.604384875393158</c:v>
                </c:pt>
                <c:pt idx="3">
                  <c:v>36.138890256840547</c:v>
                </c:pt>
                <c:pt idx="4">
                  <c:v>33.821932372236297</c:v>
                </c:pt>
                <c:pt idx="5">
                  <c:v>30.638794611773839</c:v>
                </c:pt>
                <c:pt idx="6">
                  <c:v>29.631055165912159</c:v>
                </c:pt>
                <c:pt idx="7">
                  <c:v>28.242372359602903</c:v>
                </c:pt>
                <c:pt idx="8">
                  <c:v>27.960896052254679</c:v>
                </c:pt>
                <c:pt idx="9">
                  <c:v>26.607832446679808</c:v>
                </c:pt>
                <c:pt idx="10">
                  <c:v>23.388976595143991</c:v>
                </c:pt>
                <c:pt idx="11">
                  <c:v>17.408494485444606</c:v>
                </c:pt>
              </c:numCache>
            </c:numRef>
          </c:val>
          <c:extLst>
            <c:ext xmlns:c16="http://schemas.microsoft.com/office/drawing/2014/chart" uri="{C3380CC4-5D6E-409C-BE32-E72D297353CC}">
              <c16:uniqueId val="{00000002-BD82-421C-9033-1B653F4647EF}"/>
            </c:ext>
          </c:extLst>
        </c:ser>
        <c:dLbls>
          <c:dLblPos val="outEnd"/>
          <c:showLegendKey val="0"/>
          <c:showVal val="1"/>
          <c:showCatName val="0"/>
          <c:showSerName val="0"/>
          <c:showPercent val="0"/>
          <c:showBubbleSize val="0"/>
        </c:dLbls>
        <c:gapWidth val="219"/>
        <c:overlap val="-27"/>
        <c:axId val="186617344"/>
        <c:axId val="136430720"/>
      </c:barChart>
      <c:catAx>
        <c:axId val="18661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vi-VN"/>
          </a:p>
        </c:txPr>
        <c:crossAx val="136430720"/>
        <c:crosses val="autoZero"/>
        <c:auto val="1"/>
        <c:lblAlgn val="ctr"/>
        <c:lblOffset val="100"/>
        <c:noMultiLvlLbl val="0"/>
      </c:catAx>
      <c:valAx>
        <c:axId val="136430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i="1">
                    <a:solidFill>
                      <a:srgbClr val="C00000"/>
                    </a:solidFill>
                  </a:rPr>
                  <a:t>Tỷ</a:t>
                </a:r>
                <a:r>
                  <a:rPr lang="en-US" b="1" i="1" baseline="0">
                    <a:solidFill>
                      <a:srgbClr val="C00000"/>
                    </a:solidFill>
                  </a:rPr>
                  <a:t> lệ giải ngân (%)</a:t>
                </a:r>
                <a:endParaRPr lang="en-US" b="1" i="1">
                  <a:solidFill>
                    <a:srgbClr val="C00000"/>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vi-VN"/>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8661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en-US" sz="2000">
              <a:latin typeface="Times New Roman" panose="02020603050405020304" pitchFamily="18" charset="0"/>
              <a:cs typeface="Times New Roman" panose="02020603050405020304" pitchFamily="18" charset="0"/>
            </a:rPr>
            <a:t>Thu hút đầu tư trong nước đạt kết quả tích cực, so với cùng kỳ năm 2022 đã thu hút tăng 28,21% về số dự án và tăng 42,89% về vốn đăng ký</a:t>
          </a: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400" b="1">
              <a:latin typeface="Times New Roman" panose="02020603050405020304" pitchFamily="18" charset="0"/>
              <a:cs typeface="Times New Roman" panose="02020603050405020304" pitchFamily="18" charset="0"/>
            </a:rPr>
            <a:t>2</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algn="l"/>
          <a:r>
            <a:rPr lang="vi-VN" sz="1800" b="0">
              <a:solidFill>
                <a:schemeClr val="tx1"/>
              </a:solidFill>
              <a:effectLst/>
              <a:latin typeface="Times New Roman" panose="02020603050405020304" pitchFamily="18" charset="0"/>
              <a:ea typeface="+mn-ea"/>
              <a:cs typeface="Times New Roman" panose="02020603050405020304" pitchFamily="18" charset="0"/>
            </a:rPr>
            <a:t>Trong công tác phối hợp thu hút đầu tư, thời gian qua UBND các địa phương đã rất tích cực cùng với các cơ quan liên quan của tỉnh giải quyết các khó khăn vướng mắc của nhà đầu tư một cách kịp thời, đặc biệt là công tác bồi thường, giải phóng mặt bằng (điển hình như huyện Tây Sơn, Phù Cát,…)</a:t>
          </a:r>
          <a:endParaRPr lang="en-US" sz="1800">
            <a:latin typeface="Times New Roman" panose="02020603050405020304" pitchFamily="18" charset="0"/>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3</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400" b="1">
              <a:latin typeface="Times New Roman" panose="02020603050405020304" pitchFamily="18" charset="0"/>
              <a:cs typeface="Times New Roman" panose="02020603050405020304" pitchFamily="18" charset="0"/>
            </a:rPr>
            <a:t>4</a:t>
          </a:r>
        </a:p>
      </dgm:t>
    </dgm:pt>
    <dgm:pt modelId="{BBB8AE6A-0CFE-4D72-82E6-07E422CA6CD5}" type="par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algn="l"/>
          <a:r>
            <a:rPr lang="en-US" sz="2000">
              <a:latin typeface="Times New Roman" panose="02020603050405020304" pitchFamily="18" charset="0"/>
              <a:cs typeface="Times New Roman" panose="02020603050405020304" pitchFamily="18" charset="0"/>
            </a:rPr>
            <a:t>Công tác giải ngân vốn đầu tư công được chỉ đạo quyết liệt, kịp thời điều chuyển kế hoạch vốn từ dự án giải ngân chậm sang các dự án có tiến độ thực hiện giải ngân tốt</a:t>
          </a:r>
        </a:p>
      </dgm:t>
    </dgm:pt>
    <dgm:pt modelId="{50A6C66F-5B2F-46CD-996D-D2781A7309BA}" type="par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746EEF3C-C569-4AAA-924E-6335E1823546}">
      <dgm:prSet phldrT="[Text]" custT="1"/>
      <dgm:spPr/>
      <dgm:t>
        <a:bodyPr/>
        <a:lstStyle/>
        <a:p>
          <a:r>
            <a:rPr lang="en-US" sz="2400" b="1">
              <a:latin typeface="Times New Roman" panose="02020603050405020304" pitchFamily="18" charset="0"/>
              <a:cs typeface="Times New Roman" panose="02020603050405020304" pitchFamily="18" charset="0"/>
            </a:rPr>
            <a:t>5</a:t>
          </a:r>
        </a:p>
      </dgm:t>
    </dgm:pt>
    <dgm:pt modelId="{8E143CCE-D336-4223-B4C9-60C4E3E9BEBC}" type="parTrans" cxnId="{3CE7B299-BB9C-43C9-8EB6-F6304BAD6053}">
      <dgm:prSet/>
      <dgm:spPr/>
      <dgm:t>
        <a:bodyPr/>
        <a:lstStyle/>
        <a:p>
          <a:endParaRPr lang="en-US">
            <a:latin typeface="Times New Roman" panose="02020603050405020304" pitchFamily="18" charset="0"/>
            <a:cs typeface="Times New Roman" panose="02020603050405020304" pitchFamily="18" charset="0"/>
          </a:endParaRPr>
        </a:p>
      </dgm:t>
    </dgm:pt>
    <dgm:pt modelId="{D38E67CC-FCF2-4A81-8942-B3C6175F646C}" type="sibTrans" cxnId="{3CE7B299-BB9C-43C9-8EB6-F6304BAD6053}">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l"/>
          <a:r>
            <a:rPr lang="en-US" sz="1800" b="0" baseline="0">
              <a:solidFill>
                <a:schemeClr val="tx1"/>
              </a:solidFill>
              <a:effectLst/>
              <a:latin typeface="Times New Roman" panose="02020603050405020304" pitchFamily="18" charset="0"/>
              <a:ea typeface="+mn-ea"/>
              <a:cs typeface="Times New Roman" panose="02020603050405020304" pitchFamily="18" charset="0"/>
            </a:rPr>
            <a:t>Một số địa phương thu ngân sách đến nay đã vượt dự toán cả năm 2023, nổi bật là </a:t>
          </a:r>
          <a:r>
            <a:rPr lang="vi-VN" sz="1800" b="0">
              <a:solidFill>
                <a:schemeClr val="tx1"/>
              </a:solidFill>
              <a:effectLst/>
              <a:latin typeface="Times New Roman" panose="02020603050405020304" pitchFamily="18" charset="0"/>
              <a:ea typeface="+mn-ea"/>
              <a:cs typeface="Times New Roman" panose="02020603050405020304" pitchFamily="18" charset="0"/>
            </a:rPr>
            <a:t>huyện Phù Cát hơn 620 tỷ đồng (đạt 122,3% dự toán, tăng 20% so cùng kỳ); Hoài Ân 112,2 tỷ đồng</a:t>
          </a:r>
          <a:r>
            <a:rPr lang="en-US" sz="1800" b="0">
              <a:solidFill>
                <a:schemeClr val="tx1"/>
              </a:solidFill>
              <a:effectLst/>
              <a:latin typeface="Times New Roman" panose="02020603050405020304" pitchFamily="18" charset="0"/>
              <a:ea typeface="+mn-ea"/>
              <a:cs typeface="Times New Roman" panose="02020603050405020304" pitchFamily="18" charset="0"/>
            </a:rPr>
            <a:t>, </a:t>
          </a:r>
          <a:r>
            <a:rPr lang="vi-VN" sz="1800" b="0">
              <a:solidFill>
                <a:schemeClr val="tx1"/>
              </a:solidFill>
              <a:effectLst/>
              <a:latin typeface="Times New Roman" panose="02020603050405020304" pitchFamily="18" charset="0"/>
              <a:ea typeface="+mn-ea"/>
              <a:cs typeface="Times New Roman" panose="02020603050405020304" pitchFamily="18" charset="0"/>
            </a:rPr>
            <a:t>đạt 112,6% dự toán năm và tăng 17,9% so cùng kỳ; Vân Canh</a:t>
          </a:r>
          <a:r>
            <a:rPr lang="en-US" sz="1800" b="0">
              <a:solidFill>
                <a:schemeClr val="tx1"/>
              </a:solidFill>
              <a:effectLst/>
              <a:latin typeface="Times New Roman" panose="02020603050405020304" pitchFamily="18" charset="0"/>
              <a:ea typeface="+mn-ea"/>
              <a:cs typeface="Times New Roman" panose="02020603050405020304" pitchFamily="18" charset="0"/>
            </a:rPr>
            <a:t> </a:t>
          </a:r>
          <a:r>
            <a:rPr lang="vi-VN" sz="1800" b="0">
              <a:solidFill>
                <a:schemeClr val="tx1"/>
              </a:solidFill>
              <a:effectLst/>
              <a:latin typeface="Times New Roman" panose="02020603050405020304" pitchFamily="18" charset="0"/>
              <a:ea typeface="+mn-ea"/>
              <a:cs typeface="Times New Roman" panose="02020603050405020304" pitchFamily="18" charset="0"/>
            </a:rPr>
            <a:t>116 tỷ đồng, đạt 141,3% dự toán và tăng 62,5% so cùng kỳ </a:t>
          </a:r>
          <a:endParaRPr lang="en-US" sz="1800">
            <a:latin typeface="Times New Roman" panose="02020603050405020304" pitchFamily="18" charset="0"/>
            <a:cs typeface="Times New Roman" panose="02020603050405020304" pitchFamily="18"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54A08742-4EB2-4273-BADE-87143EBB6833}">
      <dgm:prSet phldrT="[Text]" custT="1"/>
      <dgm:spPr/>
      <dgm:t>
        <a:bodyPr/>
        <a:lstStyle/>
        <a:p>
          <a:pPr algn="l"/>
          <a:r>
            <a:rPr lang="vi-VN" sz="2000">
              <a:latin typeface="Times New Roman" panose="02020603050405020304" pitchFamily="18" charset="0"/>
            </a:rPr>
            <a:t>Tỷ lệ thí sinh </a:t>
          </a:r>
          <a:r>
            <a:rPr lang="da-DK" sz="2000">
              <a:latin typeface="Times New Roman" panose="02020603050405020304" pitchFamily="18" charset="0"/>
            </a:rPr>
            <a:t>đỗ tốt nghiệp</a:t>
          </a:r>
          <a:r>
            <a:rPr lang="vi-VN" sz="2000">
              <a:latin typeface="Times New Roman" panose="02020603050405020304" pitchFamily="18" charset="0"/>
            </a:rPr>
            <a:t> THPT năm 2023 tăng 0,36% so với cùng kỳ,</a:t>
          </a:r>
          <a:r>
            <a:rPr lang="da-DK" sz="2000">
              <a:latin typeface="Times New Roman" panose="02020603050405020304" pitchFamily="18" charset="0"/>
            </a:rPr>
            <a:t> </a:t>
          </a:r>
          <a:r>
            <a:rPr lang="vi-VN" sz="2000">
              <a:latin typeface="Times New Roman" panose="02020603050405020304" pitchFamily="18" charset="0"/>
            </a:rPr>
            <a:t>đạt</a:t>
          </a:r>
          <a:r>
            <a:rPr lang="da-DK" sz="2000">
              <a:latin typeface="Times New Roman" panose="02020603050405020304" pitchFamily="18" charset="0"/>
            </a:rPr>
            <a:t> tỷ lệ 98,79%</a:t>
          </a:r>
          <a:endParaRPr lang="en-US" sz="2000">
            <a:latin typeface="Times New Roman" panose="02020603050405020304" pitchFamily="18" charset="0"/>
            <a:cs typeface="Times New Roman" panose="02020603050405020304" pitchFamily="18" charset="0"/>
          </a:endParaRPr>
        </a:p>
      </dgm:t>
    </dgm:pt>
    <dgm:pt modelId="{12456375-8C52-4E0A-B949-ED278E14EFAD}" type="parTrans" cxnId="{254D35A4-7779-46E9-BF1F-DC5A53B288D5}">
      <dgm:prSet/>
      <dgm:spPr/>
      <dgm:t>
        <a:bodyPr/>
        <a:lstStyle/>
        <a:p>
          <a:endParaRPr lang="en-US">
            <a:latin typeface="Times New Roman" panose="02020603050405020304" pitchFamily="18" charset="0"/>
            <a:cs typeface="Times New Roman" panose="02020603050405020304" pitchFamily="18" charset="0"/>
          </a:endParaRPr>
        </a:p>
      </dgm:t>
    </dgm:pt>
    <dgm:pt modelId="{42119E85-A4AD-4D8B-B7CD-B78F126C3D1E}" type="sibTrans" cxnId="{254D35A4-7779-46E9-BF1F-DC5A53B288D5}">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5" custScaleX="115848" custScaleY="52020" custLinFactNeighborX="-5592" custLinFactNeighborY="-970">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5"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5"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5" custScaleX="117990" custScaleY="82336" custLinFactNeighborX="-4171" custLinFactNeighborY="-970">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5"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5"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5" custScaleX="119093" custLinFactNeighborX="-3651" custLinFactNeighborY="-2910">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5"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5"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3" presStyleCnt="5" custScaleX="114130" custScaleY="65935" custLinFactNeighborX="-6256" custLinFactNeighborY="0">
        <dgm:presLayoutVars>
          <dgm:chMax val="0"/>
          <dgm:chPref val="0"/>
          <dgm:bulletEnabled val="1"/>
        </dgm:presLayoutVars>
      </dgm:prSet>
      <dgm:spPr/>
    </dgm:pt>
    <dgm:pt modelId="{43AC833B-96AE-40BD-B7E6-75B1C76810E5}" type="pres">
      <dgm:prSet presAssocID="{71C92471-879B-4FBF-A743-815B7DE17F01}" presName="Parent" presStyleLbl="alignNode1" presStyleIdx="3" presStyleCnt="5"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3" presStyleCnt="5" custLinFactNeighborX="2691"/>
      <dgm:spPr/>
    </dgm:pt>
    <dgm:pt modelId="{6EFAB5C6-D53D-4D9E-A651-14A5850BBAD6}" type="pres">
      <dgm:prSet presAssocID="{0DC11AB2-07B9-400F-A1FB-FDD37AA1DE3E}" presName="sibTrans" presStyleCnt="0"/>
      <dgm:spPr/>
    </dgm:pt>
    <dgm:pt modelId="{45A9598A-5BEC-4977-8F3C-EB117C2B023B}" type="pres">
      <dgm:prSet presAssocID="{746EEF3C-C569-4AAA-924E-6335E1823546}" presName="composite" presStyleCnt="0"/>
      <dgm:spPr/>
    </dgm:pt>
    <dgm:pt modelId="{4318D34E-2291-4A35-A77E-28934001B363}" type="pres">
      <dgm:prSet presAssocID="{746EEF3C-C569-4AAA-924E-6335E1823546}" presName="FirstChild" presStyleLbl="revTx" presStyleIdx="4" presStyleCnt="5" custScaleX="114130" custScaleY="65935" custLinFactNeighborX="-6986" custLinFactNeighborY="-18745">
        <dgm:presLayoutVars>
          <dgm:chMax val="0"/>
          <dgm:chPref val="0"/>
          <dgm:bulletEnabled val="1"/>
        </dgm:presLayoutVars>
      </dgm:prSet>
      <dgm:spPr/>
    </dgm:pt>
    <dgm:pt modelId="{40FA6F46-2BCD-4095-B251-8B468FFF4213}" type="pres">
      <dgm:prSet presAssocID="{746EEF3C-C569-4AAA-924E-6335E1823546}" presName="Parent" presStyleLbl="alignNode1" presStyleIdx="4" presStyleCnt="5" custScaleX="41102" custLinFactNeighborX="-29746">
        <dgm:presLayoutVars>
          <dgm:chMax val="3"/>
          <dgm:chPref val="3"/>
          <dgm:bulletEnabled val="1"/>
        </dgm:presLayoutVars>
      </dgm:prSet>
      <dgm:spPr/>
    </dgm:pt>
    <dgm:pt modelId="{CDC03258-706B-4398-8534-8228545EC45E}" type="pres">
      <dgm:prSet presAssocID="{746EEF3C-C569-4AAA-924E-6335E1823546}" presName="Accent" presStyleLbl="parChTrans1D1" presStyleIdx="4" presStyleCnt="5" custLinFactNeighborX="2310"/>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3" destOrd="0" parTransId="{BBB8AE6A-0CFE-4D72-82E6-07E422CA6CD5}" sibTransId="{0DC11AB2-07B9-400F-A1FB-FDD37AA1DE3E}"/>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454C5B58-A8D4-4C45-8D5F-9F585ABA93C7}" type="presOf" srcId="{54A08742-4EB2-4273-BADE-87143EBB6833}" destId="{4318D34E-2291-4A35-A77E-28934001B363}"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3CE7B299-BB9C-43C9-8EB6-F6304BAD6053}" srcId="{71122926-23E9-4DA1-96DC-340223CFC003}" destId="{746EEF3C-C569-4AAA-924E-6335E1823546}" srcOrd="4" destOrd="0" parTransId="{8E143CCE-D336-4223-B4C9-60C4E3E9BEBC}" sibTransId="{D38E67CC-FCF2-4A81-8942-B3C6175F646C}"/>
    <dgm:cxn modelId="{254D35A4-7779-46E9-BF1F-DC5A53B288D5}" srcId="{746EEF3C-C569-4AAA-924E-6335E1823546}" destId="{54A08742-4EB2-4273-BADE-87143EBB6833}" srcOrd="0" destOrd="0" parTransId="{12456375-8C52-4E0A-B949-ED278E14EFAD}" sibTransId="{42119E85-A4AD-4D8B-B7CD-B78F126C3D1E}"/>
    <dgm:cxn modelId="{EFD77EB2-D589-4172-A6E2-DB1AA6C7A569}" type="presOf" srcId="{746EEF3C-C569-4AAA-924E-6335E1823546}" destId="{40FA6F46-2BCD-4095-B251-8B468FFF4213}"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5" destOrd="0" presId="urn:microsoft.com/office/officeart/2011/layout/TabList"/>
    <dgm:cxn modelId="{A1B36B3F-3CF5-471D-82D8-E5E81A151F9F}" type="presParOf" srcId="{81A4BF3E-D2DE-4F9B-BFF4-EEEE8CAB0147}" destId="{817546C4-2B40-46A7-9DCF-1A7043256BD7}" srcOrd="6"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82D2DEA8-70B2-42CE-9C76-26180D6B8EE8}" type="presParOf" srcId="{81A4BF3E-D2DE-4F9B-BFF4-EEEE8CAB0147}" destId="{6EFAB5C6-D53D-4D9E-A651-14A5850BBAD6}" srcOrd="7" destOrd="0" presId="urn:microsoft.com/office/officeart/2011/layout/TabList"/>
    <dgm:cxn modelId="{73A2A992-4F9A-465C-967C-D8D300DA3137}" type="presParOf" srcId="{81A4BF3E-D2DE-4F9B-BFF4-EEEE8CAB0147}" destId="{45A9598A-5BEC-4977-8F3C-EB117C2B023B}" srcOrd="8" destOrd="0" presId="urn:microsoft.com/office/officeart/2011/layout/TabList"/>
    <dgm:cxn modelId="{E13BF746-D954-4C09-BDA2-4B5C3B402CE6}" type="presParOf" srcId="{45A9598A-5BEC-4977-8F3C-EB117C2B023B}" destId="{4318D34E-2291-4A35-A77E-28934001B363}" srcOrd="0" destOrd="0" presId="urn:microsoft.com/office/officeart/2011/layout/TabList"/>
    <dgm:cxn modelId="{281BE908-0191-485D-A831-65987625AF23}" type="presParOf" srcId="{45A9598A-5BEC-4977-8F3C-EB117C2B023B}" destId="{40FA6F46-2BCD-4095-B251-8B468FFF4213}" srcOrd="1" destOrd="0" presId="urn:microsoft.com/office/officeart/2011/layout/TabList"/>
    <dgm:cxn modelId="{50891F0B-F113-4C0C-8F31-4C689C19B6B4}" type="presParOf" srcId="{45A9598A-5BEC-4977-8F3C-EB117C2B023B}" destId="{CDC03258-706B-4398-8534-8228545EC45E}"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en-US"/>
        </a:p>
      </dgm:t>
    </dgm:pt>
    <dgm:pt modelId="{CE531857-95D9-4450-A523-F1CA7AE880F1}">
      <dgm:prSet phldrT="[Text]" custT="1"/>
      <dgm:spPr/>
      <dgm:t>
        <a:bodyPr/>
        <a:lstStyle/>
        <a:p>
          <a:r>
            <a:rPr lang="en-US" sz="4000"/>
            <a:t>1</a:t>
          </a:r>
        </a:p>
      </dgm:t>
    </dgm:pt>
    <dgm:pt modelId="{7049913E-CA72-4D04-86E8-DB4D4A7E415E}" type="parTrans" cxnId="{F2316B1A-A28B-4982-B678-722CAA864769}">
      <dgm:prSet/>
      <dgm:spPr/>
      <dgm:t>
        <a:bodyPr/>
        <a:lstStyle/>
        <a:p>
          <a:endParaRPr lang="en-US" sz="2400"/>
        </a:p>
      </dgm:t>
    </dgm:pt>
    <dgm:pt modelId="{6F0CD08A-C498-4E17-88C3-1D1175F05039}" type="sibTrans" cxnId="{F2316B1A-A28B-4982-B678-722CAA864769}">
      <dgm:prSet/>
      <dgm:spPr/>
      <dgm:t>
        <a:bodyPr/>
        <a:lstStyle/>
        <a:p>
          <a:endParaRPr lang="en-US" sz="2400"/>
        </a:p>
      </dgm:t>
    </dgm:pt>
    <dgm:pt modelId="{C1933DE2-883B-467A-A497-FC1A03521BD0}">
      <dgm:prSet phldrT="[Text]" custT="1"/>
      <dgm:spPr/>
      <dgm:t>
        <a:bodyPr/>
        <a:lstStyle/>
        <a:p>
          <a:r>
            <a:rPr lang="en-US" sz="4000"/>
            <a:t>2</a:t>
          </a:r>
        </a:p>
      </dgm:t>
    </dgm:pt>
    <dgm:pt modelId="{182E3680-630D-484B-89B5-E15E838A98D1}" type="parTrans" cxnId="{252A553D-B51E-445A-9195-BCB6DCFBCE23}">
      <dgm:prSet/>
      <dgm:spPr/>
      <dgm:t>
        <a:bodyPr/>
        <a:lstStyle/>
        <a:p>
          <a:endParaRPr lang="en-US" sz="2400"/>
        </a:p>
      </dgm:t>
    </dgm:pt>
    <dgm:pt modelId="{477253D1-903F-4DD6-A7E7-0586DD6242ED}" type="sibTrans" cxnId="{252A553D-B51E-445A-9195-BCB6DCFBCE23}">
      <dgm:prSet/>
      <dgm:spPr/>
      <dgm:t>
        <a:bodyPr/>
        <a:lstStyle/>
        <a:p>
          <a:endParaRPr lang="en-US" sz="2400"/>
        </a:p>
      </dgm:t>
    </dgm:pt>
    <dgm:pt modelId="{439D5BA7-172F-4129-ACD1-22C6B6C19329}">
      <dgm:prSet phldrT="[Text]" custT="1"/>
      <dgm:spPr/>
      <dgm:t>
        <a:bodyPr/>
        <a:lstStyle/>
        <a:p>
          <a:pPr marL="119063" indent="0" algn="just">
            <a:lnSpc>
              <a:spcPct val="100000"/>
            </a:lnSpc>
            <a:spcAft>
              <a:spcPts val="0"/>
            </a:spcAft>
            <a:buNone/>
          </a:pPr>
          <a:r>
            <a:rPr lang="vi-VN"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hị trường bất động sản trầm lắng, thu ngân sách từ nguồn thu tiền sử dụng đất gặp khó khăn</a:t>
          </a:r>
          <a:r>
            <a:rPr lang="en-U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ảnh hưởng lớn đến </a:t>
          </a:r>
          <a:r>
            <a:rPr lang="it-IT"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nhiệm vụ chi đầu tư phát triển</a:t>
          </a:r>
          <a:endParaRPr lang="en-US" sz="2400" kern="1200">
            <a:solidFill>
              <a:prstClr val="black">
                <a:hueOff val="0"/>
                <a:satOff val="0"/>
                <a:lumOff val="0"/>
                <a:alphaOff val="0"/>
              </a:prstClr>
            </a:solidFill>
            <a:latin typeface="Times New Roman" panose="02020603050405020304" pitchFamily="18" charset="0"/>
            <a:ea typeface="+mn-ea"/>
            <a:cs typeface="+mn-cs"/>
          </a:endParaRPr>
        </a:p>
      </dgm:t>
    </dgm:pt>
    <dgm:pt modelId="{8B64A804-016B-409D-B50E-B11366C9E709}" type="parTrans" cxnId="{03A57C13-84A1-47F9-9654-3D8E9D1A7AC5}">
      <dgm:prSet/>
      <dgm:spPr/>
      <dgm:t>
        <a:bodyPr/>
        <a:lstStyle/>
        <a:p>
          <a:endParaRPr lang="en-US" sz="2400"/>
        </a:p>
      </dgm:t>
    </dgm:pt>
    <dgm:pt modelId="{CA2B4599-8ADC-48A0-90B9-B09B905E51B6}" type="sibTrans" cxnId="{03A57C13-84A1-47F9-9654-3D8E9D1A7AC5}">
      <dgm:prSet/>
      <dgm:spPr/>
      <dgm:t>
        <a:bodyPr/>
        <a:lstStyle/>
        <a:p>
          <a:endParaRPr lang="en-US" sz="2400"/>
        </a:p>
      </dgm:t>
    </dgm:pt>
    <dgm:pt modelId="{56D39143-023E-4C72-BBA5-EF173F9BD014}">
      <dgm:prSet phldrT="[Text]" custT="1"/>
      <dgm:spPr/>
      <dgm:t>
        <a:bodyPr/>
        <a:lstStyle/>
        <a:p>
          <a:r>
            <a:rPr lang="en-US" sz="4000"/>
            <a:t>3</a:t>
          </a:r>
        </a:p>
      </dgm:t>
    </dgm:pt>
    <dgm:pt modelId="{704DAA72-BD58-41D8-A497-12E1A4CC40DA}" type="parTrans" cxnId="{A67447F1-BB7B-4D3B-82E0-4E32EF97F94F}">
      <dgm:prSet/>
      <dgm:spPr/>
      <dgm:t>
        <a:bodyPr/>
        <a:lstStyle/>
        <a:p>
          <a:endParaRPr lang="en-US" sz="2400"/>
        </a:p>
      </dgm:t>
    </dgm:pt>
    <dgm:pt modelId="{F979FFB3-6427-4249-90BE-69B53EC9AD13}" type="sibTrans" cxnId="{A67447F1-BB7B-4D3B-82E0-4E32EF97F94F}">
      <dgm:prSet/>
      <dgm:spPr/>
      <dgm:t>
        <a:bodyPr/>
        <a:lstStyle/>
        <a:p>
          <a:endParaRPr lang="en-US" sz="2400"/>
        </a:p>
      </dgm:t>
    </dgm:pt>
    <dgm:pt modelId="{3D9335D1-031F-4F65-962F-9CDAB09D253B}">
      <dgm:prSet custT="1"/>
      <dgm:spPr/>
      <dgm:t>
        <a:bodyPr/>
        <a:lstStyle/>
        <a:p>
          <a:pPr marL="119063" indent="0" algn="just">
            <a:buNone/>
          </a:pP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Việc thực hiện, giải ngân các Chương trình mục tiêu quốc gia còn nhiều vướng mắc, tỷ lệ giải ngân còn thấp</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dgm:t>
    </dgm:pt>
    <dgm:pt modelId="{A8D602EA-28E3-40C4-B5A1-8DB7AC2DB7AE}" type="parTrans" cxnId="{56A90894-A054-40DB-AC89-EF01EA3423D6}">
      <dgm:prSet/>
      <dgm:spPr/>
      <dgm:t>
        <a:bodyPr/>
        <a:lstStyle/>
        <a:p>
          <a:endParaRPr lang="en-US" sz="2400"/>
        </a:p>
      </dgm:t>
    </dgm:pt>
    <dgm:pt modelId="{354CC2F7-7518-4094-B82B-BC553913C535}" type="sibTrans" cxnId="{56A90894-A054-40DB-AC89-EF01EA3423D6}">
      <dgm:prSet/>
      <dgm:spPr/>
      <dgm:t>
        <a:bodyPr/>
        <a:lstStyle/>
        <a:p>
          <a:endParaRPr lang="en-US" sz="2400"/>
        </a:p>
      </dgm:t>
    </dgm:pt>
    <dgm:pt modelId="{7158C417-01D3-4DA0-9415-16B3B3977CD1}">
      <dgm:prSet phldrT="[Text]" custT="1"/>
      <dgm:spPr/>
      <dgm:t>
        <a:bodyPr/>
        <a:lstStyle/>
        <a:p>
          <a:pPr marL="119063" indent="0" algn="just">
            <a:lnSpc>
              <a:spcPct val="100000"/>
            </a:lnSpc>
            <a:spcAft>
              <a:spcPts val="0"/>
            </a:spcAft>
            <a:buNone/>
          </a:pPr>
          <a:r>
            <a:rPr lang="it-IT" sz="2400" kern="1200">
              <a:solidFill>
                <a:prstClr val="black">
                  <a:hueOff val="0"/>
                  <a:satOff val="0"/>
                  <a:lumOff val="0"/>
                  <a:alphaOff val="0"/>
                </a:prstClr>
              </a:solidFill>
              <a:latin typeface="Times New Roman" panose="02020603050405020304" pitchFamily="18" charset="0"/>
              <a:ea typeface="+mn-ea"/>
              <a:cs typeface="+mn-cs"/>
            </a:rPr>
            <a:t>Hoạt động sản xuất, kinh doanh, sản xuất công nghiệp, xuất khẩu</a:t>
          </a:r>
          <a:r>
            <a:rPr lang="vi-VN" sz="2400" kern="1200">
              <a:solidFill>
                <a:prstClr val="black">
                  <a:hueOff val="0"/>
                  <a:satOff val="0"/>
                  <a:lumOff val="0"/>
                  <a:alphaOff val="0"/>
                </a:prstClr>
              </a:solidFill>
              <a:latin typeface="Times New Roman" panose="02020603050405020304" pitchFamily="18" charset="0"/>
              <a:ea typeface="+mn-ea"/>
              <a:cs typeface="+mn-cs"/>
            </a:rPr>
            <a:t>, thu ngân sách nhà nước</a:t>
          </a:r>
          <a:r>
            <a:rPr lang="it-IT" sz="2400" kern="1200">
              <a:solidFill>
                <a:prstClr val="black">
                  <a:hueOff val="0"/>
                  <a:satOff val="0"/>
                  <a:lumOff val="0"/>
                  <a:alphaOff val="0"/>
                </a:prstClr>
              </a:solidFill>
              <a:latin typeface="Times New Roman" panose="02020603050405020304" pitchFamily="18" charset="0"/>
              <a:ea typeface="+mn-ea"/>
              <a:cs typeface="+mn-cs"/>
            </a:rPr>
            <a:t>… gặp nhiều khó khăn. </a:t>
          </a:r>
          <a:r>
            <a:rPr lang="vi-VN" sz="2400" kern="1200">
              <a:solidFill>
                <a:prstClr val="black">
                  <a:hueOff val="0"/>
                  <a:satOff val="0"/>
                  <a:lumOff val="0"/>
                  <a:alphaOff val="0"/>
                </a:prstClr>
              </a:solidFill>
              <a:latin typeface="Times New Roman" panose="02020603050405020304" pitchFamily="18" charset="0"/>
              <a:ea typeface="+mn-ea"/>
              <a:cs typeface="+mn-cs"/>
            </a:rPr>
            <a:t>So với cùng kỳ, chỉ số sản xuất công nghiệp (IIP) chỉ tăng 0,36%; kim ngạch xuất khẩu giảm 13%; tổng thu ngân sách giảm 31% </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gm:t>
    </dgm:pt>
    <dgm:pt modelId="{932BBA9B-3838-4105-B5F8-F779936A7798}" type="sibTrans" cxnId="{151F138B-8227-4665-BD22-1724EE04FEC3}">
      <dgm:prSet/>
      <dgm:spPr/>
      <dgm:t>
        <a:bodyPr/>
        <a:lstStyle/>
        <a:p>
          <a:endParaRPr lang="en-US" sz="2400"/>
        </a:p>
      </dgm:t>
    </dgm:pt>
    <dgm:pt modelId="{8C5248B0-CF95-46B9-B3DF-5903DA7BE923}" type="parTrans" cxnId="{151F138B-8227-4665-BD22-1724EE04FEC3}">
      <dgm:prSet/>
      <dgm:spPr/>
      <dgm:t>
        <a:bodyPr/>
        <a:lstStyle/>
        <a:p>
          <a:endParaRPr lang="en-US" sz="2400"/>
        </a:p>
      </dgm:t>
    </dgm:pt>
    <dgm:pt modelId="{FE75CA87-BF33-45BB-9A65-5445B0E49D35}">
      <dgm:prSet custT="1"/>
      <dgm:spPr/>
      <dgm:t>
        <a:bodyPr/>
        <a:lstStyle/>
        <a:p>
          <a:pPr marL="119063" indent="0" algn="just">
            <a:buNone/>
          </a:pPr>
          <a:r>
            <a:rPr lang="vi-VN" sz="4400" kern="1200">
              <a:solidFill>
                <a:schemeClr val="bg1"/>
              </a:solidFill>
              <a:latin typeface="Times New Roman" panose="02020603050405020304" pitchFamily="18" charset="0"/>
              <a:ea typeface="+mn-ea"/>
              <a:cs typeface="+mn-cs"/>
            </a:rPr>
            <a:t> 4</a:t>
          </a:r>
          <a:endParaRPr lang="en-US" sz="4400" kern="1200" dirty="0">
            <a:solidFill>
              <a:schemeClr val="bg1"/>
            </a:solidFill>
            <a:latin typeface="Times New Roman" panose="02020603050405020304" pitchFamily="18" charset="0"/>
            <a:ea typeface="+mn-ea"/>
            <a:cs typeface="+mn-cs"/>
          </a:endParaRPr>
        </a:p>
      </dgm:t>
    </dgm:pt>
    <dgm:pt modelId="{4DCF6ADD-2921-45AA-8BA5-D54247079782}" type="parTrans" cxnId="{947C71C4-DB70-4C14-B53E-77FDCEE841AF}">
      <dgm:prSet/>
      <dgm:spPr/>
      <dgm:t>
        <a:bodyPr/>
        <a:lstStyle/>
        <a:p>
          <a:endParaRPr lang="vi-VN"/>
        </a:p>
      </dgm:t>
    </dgm:pt>
    <dgm:pt modelId="{09998FFE-BF22-4C69-9F79-08705C465398}" type="sibTrans" cxnId="{947C71C4-DB70-4C14-B53E-77FDCEE841AF}">
      <dgm:prSet/>
      <dgm:spPr/>
      <dgm:t>
        <a:bodyPr/>
        <a:lstStyle/>
        <a:p>
          <a:endParaRPr lang="vi-VN"/>
        </a:p>
      </dgm:t>
    </dgm:pt>
    <dgm:pt modelId="{2AD95D3E-10EE-4022-9973-4008428E2B8A}">
      <dgm:prSet custT="1"/>
      <dgm:spPr/>
      <dgm:t>
        <a:bodyPr/>
        <a:lstStyle/>
        <a:p>
          <a:pPr marL="119063" indent="0" algn="just">
            <a:buFontTx/>
            <a:buNone/>
          </a:pPr>
          <a:r>
            <a:rPr lang="it-IT" sz="2400" kern="1200">
              <a:solidFill>
                <a:prstClr val="black">
                  <a:hueOff val="0"/>
                  <a:satOff val="0"/>
                  <a:lumOff val="0"/>
                  <a:alphaOff val="0"/>
                </a:prstClr>
              </a:solidFill>
              <a:latin typeface="Times New Roman" panose="02020603050405020304" pitchFamily="18" charset="0"/>
              <a:ea typeface="+mn-ea"/>
              <a:cs typeface="+mn-cs"/>
            </a:rPr>
            <a:t>Công tác thu hút đầu tư nước ngoài chưa đạt như kỳ vọng mặc dù tỉnh đã tổ chức nhiều đợt xúc tiến đầu tư nước</a:t>
          </a:r>
          <a:r>
            <a:rPr lang="vi-VN" sz="2400" kern="1200">
              <a:solidFill>
                <a:prstClr val="black">
                  <a:hueOff val="0"/>
                  <a:satOff val="0"/>
                  <a:lumOff val="0"/>
                  <a:alphaOff val="0"/>
                </a:prstClr>
              </a:solidFill>
              <a:latin typeface="Times New Roman" panose="02020603050405020304" pitchFamily="18" charset="0"/>
              <a:ea typeface="+mn-ea"/>
              <a:cs typeface="+mn-cs"/>
            </a:rPr>
            <a:t> ngoài</a:t>
          </a:r>
          <a:r>
            <a:rPr lang="it-IT" sz="2400" kern="1200">
              <a:solidFill>
                <a:prstClr val="black">
                  <a:hueOff val="0"/>
                  <a:satOff val="0"/>
                  <a:lumOff val="0"/>
                  <a:alphaOff val="0"/>
                </a:prstClr>
              </a:solidFill>
              <a:latin typeface="Times New Roman" panose="02020603050405020304" pitchFamily="18" charset="0"/>
              <a:ea typeface="+mn-ea"/>
              <a:cs typeface="+mn-cs"/>
            </a:rPr>
            <a:t> </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dgm:t>
    </dgm:pt>
    <dgm:pt modelId="{6B9E85B6-F1E3-4A1D-8641-8A8D4C142ADC}" type="parTrans" cxnId="{637842A3-0ED8-4923-871A-2D67B692F67B}">
      <dgm:prSet/>
      <dgm:spPr/>
      <dgm:t>
        <a:bodyPr/>
        <a:lstStyle/>
        <a:p>
          <a:endParaRPr lang="vi-VN"/>
        </a:p>
      </dgm:t>
    </dgm:pt>
    <dgm:pt modelId="{773C556D-B1B2-419A-BE4F-1ED506CB0EB6}" type="sibTrans" cxnId="{637842A3-0ED8-4923-871A-2D67B692F67B}">
      <dgm:prSet/>
      <dgm:spPr/>
      <dgm:t>
        <a:bodyPr/>
        <a:lstStyle/>
        <a:p>
          <a:endParaRPr lang="vi-VN"/>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4">
        <dgm:presLayoutVars>
          <dgm:chMax val="1"/>
          <dgm:bulletEnabled val="1"/>
        </dgm:presLayoutVars>
      </dgm:prSet>
      <dgm:spPr/>
    </dgm:pt>
    <dgm:pt modelId="{9770188F-3220-4119-9599-0FD33E998D96}" type="pres">
      <dgm:prSet presAssocID="{CE531857-95D9-4450-A523-F1CA7AE880F1}" presName="descendantText" presStyleLbl="alignAcc1" presStyleIdx="0" presStyleCnt="4" custScaleY="171666">
        <dgm:presLayoutVars>
          <dgm:bulletEnabled val="1"/>
        </dgm:presLayoutVars>
      </dgm:prSet>
      <dgm:spPr/>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4" custLinFactNeighborY="296">
        <dgm:presLayoutVars>
          <dgm:chMax val="1"/>
          <dgm:bulletEnabled val="1"/>
        </dgm:presLayoutVars>
      </dgm:prSet>
      <dgm:spPr/>
    </dgm:pt>
    <dgm:pt modelId="{594D2AB4-91B5-4F18-9ACA-1D51E359B741}" type="pres">
      <dgm:prSet presAssocID="{C1933DE2-883B-467A-A497-FC1A03521BD0}" presName="descendantText" presStyleLbl="alignAcc1" presStyleIdx="1" presStyleCnt="4" custScaleY="101967" custLinFactNeighborY="440">
        <dgm:presLayoutVars>
          <dgm:bulletEnabled val="1"/>
        </dgm:presLayoutVars>
      </dgm:prSet>
      <dgm:spPr/>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4" custLinFactNeighborX="1207" custLinFactNeighborY="-8333">
        <dgm:presLayoutVars>
          <dgm:chMax val="1"/>
          <dgm:bulletEnabled val="1"/>
        </dgm:presLayoutVars>
      </dgm:prSet>
      <dgm:spPr/>
    </dgm:pt>
    <dgm:pt modelId="{18D2B7CF-92DC-4C98-B7A8-681260E88B2C}" type="pres">
      <dgm:prSet presAssocID="{56D39143-023E-4C72-BBA5-EF173F9BD014}" presName="descendantText" presStyleLbl="alignAcc1" presStyleIdx="2" presStyleCnt="4" custScaleY="105888" custLinFactNeighborY="-9680">
        <dgm:presLayoutVars>
          <dgm:bulletEnabled val="1"/>
        </dgm:presLayoutVars>
      </dgm:prSet>
      <dgm:spPr/>
    </dgm:pt>
    <dgm:pt modelId="{0FF5D4AA-A2D8-4DDF-B771-BD49D03276F0}" type="pres">
      <dgm:prSet presAssocID="{F979FFB3-6427-4249-90BE-69B53EC9AD13}" presName="sp" presStyleCnt="0"/>
      <dgm:spPr/>
    </dgm:pt>
    <dgm:pt modelId="{0FA8609F-FF06-4902-AB00-4359F0771B3E}" type="pres">
      <dgm:prSet presAssocID="{FE75CA87-BF33-45BB-9A65-5445B0E49D35}" presName="composite" presStyleCnt="0"/>
      <dgm:spPr/>
    </dgm:pt>
    <dgm:pt modelId="{407F228A-246B-4CD6-A008-1160CAEC445E}" type="pres">
      <dgm:prSet presAssocID="{FE75CA87-BF33-45BB-9A65-5445B0E49D35}" presName="parentText" presStyleLbl="alignNode1" presStyleIdx="3" presStyleCnt="4">
        <dgm:presLayoutVars>
          <dgm:chMax val="1"/>
          <dgm:bulletEnabled val="1"/>
        </dgm:presLayoutVars>
      </dgm:prSet>
      <dgm:spPr/>
    </dgm:pt>
    <dgm:pt modelId="{885D7DF9-BC4B-4F16-9F80-907A5E37F78C}" type="pres">
      <dgm:prSet presAssocID="{FE75CA87-BF33-45BB-9A65-5445B0E49D35}" presName="descendantText" presStyleLbl="alignAcc1" presStyleIdx="3" presStyleCnt="4">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03A57C13-84A1-47F9-9654-3D8E9D1A7AC5}" srcId="{C1933DE2-883B-467A-A497-FC1A03521BD0}" destId="{439D5BA7-172F-4129-ACD1-22C6B6C19329}" srcOrd="0" destOrd="0" parTransId="{8B64A804-016B-409D-B50E-B11366C9E709}" sibTransId="{CA2B4599-8ADC-48A0-90B9-B09B905E51B6}"/>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26794A34-D8C6-4415-BC12-96721F7B7CB0}" type="presOf" srcId="{439D5BA7-172F-4129-ACD1-22C6B6C19329}" destId="{594D2AB4-91B5-4F18-9ACA-1D51E359B741}" srcOrd="0" destOrd="0" presId="urn:microsoft.com/office/officeart/2005/8/layout/chevron2"/>
    <dgm:cxn modelId="{5F123C38-7733-4620-B75B-76DFF7667A66}" type="presOf" srcId="{FE75CA87-BF33-45BB-9A65-5445B0E49D35}" destId="{407F228A-246B-4CD6-A008-1160CAEC445E}"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88AC068A-BA0C-4BE8-9CA2-D5EA93B65317}" type="presOf" srcId="{3D9335D1-031F-4F65-962F-9CDAB09D253B}" destId="{18D2B7CF-92DC-4C98-B7A8-681260E88B2C}"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87018493-5DCC-46DF-ADEB-440E6C1C91C8}" type="presOf" srcId="{C1933DE2-883B-467A-A497-FC1A03521BD0}" destId="{89164601-E0A1-4038-AED2-754D77EF4C41}"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637842A3-0ED8-4923-871A-2D67B692F67B}" srcId="{FE75CA87-BF33-45BB-9A65-5445B0E49D35}" destId="{2AD95D3E-10EE-4022-9973-4008428E2B8A}" srcOrd="0" destOrd="0" parTransId="{6B9E85B6-F1E3-4A1D-8641-8A8D4C142ADC}" sibTransId="{773C556D-B1B2-419A-BE4F-1ED506CB0EB6}"/>
    <dgm:cxn modelId="{E309BFBF-A1BB-4F85-89CF-E531CEF7C843}" type="presOf" srcId="{56D39143-023E-4C72-BBA5-EF173F9BD014}" destId="{3DA4DBDD-86BF-4DC6-9D99-05C1C1BFB383}" srcOrd="0" destOrd="0" presId="urn:microsoft.com/office/officeart/2005/8/layout/chevron2"/>
    <dgm:cxn modelId="{947C71C4-DB70-4C14-B53E-77FDCEE841AF}" srcId="{011C79E0-B116-4E55-8C54-A2CE86D2A740}" destId="{FE75CA87-BF33-45BB-9A65-5445B0E49D35}" srcOrd="3" destOrd="0" parTransId="{4DCF6ADD-2921-45AA-8BA5-D54247079782}" sibTransId="{09998FFE-BF22-4C69-9F79-08705C465398}"/>
    <dgm:cxn modelId="{C813A4C5-67EA-47C6-A528-D89A0837FA39}" type="presOf" srcId="{2AD95D3E-10EE-4022-9973-4008428E2B8A}" destId="{885D7DF9-BC4B-4F16-9F80-907A5E37F78C}"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 modelId="{84ABB466-CEA0-4604-AF4F-8570E24B7B82}" type="presParOf" srcId="{710DA7AD-DF2E-4B6F-8F66-B72A755643A6}" destId="{0FF5D4AA-A2D8-4DDF-B771-BD49D03276F0}" srcOrd="5" destOrd="0" presId="urn:microsoft.com/office/officeart/2005/8/layout/chevron2"/>
    <dgm:cxn modelId="{504D7197-3E15-4084-B092-36013517EA71}" type="presParOf" srcId="{710DA7AD-DF2E-4B6F-8F66-B72A755643A6}" destId="{0FA8609F-FF06-4902-AB00-4359F0771B3E}" srcOrd="6" destOrd="0" presId="urn:microsoft.com/office/officeart/2005/8/layout/chevron2"/>
    <dgm:cxn modelId="{1FCF1D1D-8C4C-41B4-836C-9A6E48AE1A7F}" type="presParOf" srcId="{0FA8609F-FF06-4902-AB00-4359F0771B3E}" destId="{407F228A-246B-4CD6-A008-1160CAEC445E}" srcOrd="0" destOrd="0" presId="urn:microsoft.com/office/officeart/2005/8/layout/chevron2"/>
    <dgm:cxn modelId="{48EE8BFC-1C0A-45B3-97EE-2699E8FF93E4}" type="presParOf" srcId="{0FA8609F-FF06-4902-AB00-4359F0771B3E}" destId="{885D7DF9-BC4B-4F16-9F80-907A5E37F78C}"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dirty="0"/>
            <a:t>1</a:t>
          </a:r>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lgn="just">
            <a:buNone/>
          </a:pPr>
          <a:r>
            <a:rPr lang="nl-NL" sz="2400" kern="1200">
              <a:latin typeface="Times New Roman" panose="02020603050405020304" pitchFamily="18" charset="0"/>
              <a:cs typeface="Times New Roman" panose="02020603050405020304" pitchFamily="18" charset="0"/>
            </a:rPr>
            <a:t>Tập trung chỉ đạo sản xuất vụ Hè Thu và vụ Mùa theo kế hoạch. </a:t>
          </a:r>
          <a:r>
            <a:rPr lang="nb-NO" sz="2400" kern="1200">
              <a:latin typeface="Times New Roman" panose="02020603050405020304" pitchFamily="18" charset="0"/>
              <a:cs typeface="Times New Roman" panose="02020603050405020304" pitchFamily="18" charset="0"/>
            </a:rPr>
            <a:t>Tiếp tục xây dựng </a:t>
          </a:r>
          <a:r>
            <a:rPr lang="nl-NL" sz="2400" kern="1200">
              <a:latin typeface="Times New Roman" panose="02020603050405020304" pitchFamily="18" charset="0"/>
              <a:cs typeface="Times New Roman" panose="02020603050405020304" pitchFamily="18" charset="0"/>
            </a:rPr>
            <a:t>Đề án phát triển cây trồng chủ lực và cây ăn quả tỉnh Bình Định đến năm 2025, định hướng đến năm 2030 theo kế hoạch</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C1933DE2-883B-467A-A497-FC1A03521BD0}">
      <dgm:prSet phldrT="[Text]"/>
      <dgm:spPr/>
      <dgm:t>
        <a:bodyPr/>
        <a:lstStyle/>
        <a:p>
          <a:r>
            <a:rPr lang="en-US" dirty="0"/>
            <a:t>2</a:t>
          </a:r>
        </a:p>
      </dgm:t>
    </dgm:pt>
    <dgm:pt modelId="{182E3680-630D-484B-89B5-E15E838A98D1}" type="parTrans" cxnId="{252A553D-B51E-445A-9195-BCB6DCFBCE23}">
      <dgm:prSet/>
      <dgm:spPr/>
      <dgm:t>
        <a:bodyPr/>
        <a:lstStyle/>
        <a:p>
          <a:endParaRPr lang="en-US"/>
        </a:p>
      </dgm:t>
    </dgm:pt>
    <dgm:pt modelId="{477253D1-903F-4DD6-A7E7-0586DD6242ED}" type="sibTrans" cxnId="{252A553D-B51E-445A-9195-BCB6DCFBCE23}">
      <dgm:prSet/>
      <dgm:spPr/>
      <dgm:t>
        <a:bodyPr/>
        <a:lstStyle/>
        <a:p>
          <a:endParaRPr lang="en-US"/>
        </a:p>
      </dgm:t>
    </dgm:pt>
    <dgm:pt modelId="{439D5BA7-172F-4129-ACD1-22C6B6C19329}">
      <dgm:prSet phldrT="[Text]" custT="1"/>
      <dgm:spPr>
        <a:solidFill>
          <a:schemeClr val="accent2">
            <a:lumMod val="20000"/>
            <a:lumOff val="80000"/>
            <a:alpha val="90000"/>
          </a:schemeClr>
        </a:solidFill>
      </dgm:spPr>
      <dgm:t>
        <a:bodyPr/>
        <a:lstStyle/>
        <a:p>
          <a:pPr algn="just">
            <a:buNone/>
          </a:pP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ập trung chuẩn bị làm việc với Đoàn Thanh tra của Ủy ban Châu Âu lần thứ 4 </a:t>
          </a:r>
          <a:r>
            <a:rPr lang="en-US"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ề chống khai thác thủy sản bất hợp pháp, không báo cáo theo quy định (IUU)</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8B64A804-016B-409D-B50E-B11366C9E709}" type="parTrans" cxnId="{03A57C13-84A1-47F9-9654-3D8E9D1A7AC5}">
      <dgm:prSet/>
      <dgm:spPr/>
      <dgm:t>
        <a:bodyPr/>
        <a:lstStyle/>
        <a:p>
          <a:endParaRPr lang="en-US"/>
        </a:p>
      </dgm:t>
    </dgm:pt>
    <dgm:pt modelId="{CA2B4599-8ADC-48A0-90B9-B09B905E51B6}" type="sibTrans" cxnId="{03A57C13-84A1-47F9-9654-3D8E9D1A7AC5}">
      <dgm:prSet/>
      <dgm:spPr/>
      <dgm:t>
        <a:bodyPr/>
        <a:lstStyle/>
        <a:p>
          <a:endParaRPr lang="en-US"/>
        </a:p>
      </dgm:t>
    </dgm:pt>
    <dgm:pt modelId="{56D39143-023E-4C72-BBA5-EF173F9BD014}">
      <dgm:prSet phldrT="[Text]"/>
      <dgm:spPr/>
      <dgm:t>
        <a:bodyPr/>
        <a:lstStyle/>
        <a:p>
          <a:r>
            <a:rPr lang="en-US" dirty="0"/>
            <a:t>3</a:t>
          </a:r>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87914017-FA12-4127-A184-E034C1EC6480}">
      <dgm:prSet phldrT="[Text]"/>
      <dgm:spPr/>
      <dgm:t>
        <a:bodyPr/>
        <a:lstStyle/>
        <a:p>
          <a:r>
            <a:rPr lang="en-US" dirty="0"/>
            <a:t>4</a:t>
          </a:r>
        </a:p>
      </dgm:t>
    </dgm:pt>
    <dgm:pt modelId="{F0E5AAF6-E516-4F11-97F6-F5ADCDD41BF9}" type="parTrans" cxnId="{55DC285D-1470-4222-8E89-BE4F56C5F65F}">
      <dgm:prSet/>
      <dgm:spPr/>
      <dgm:t>
        <a:bodyPr/>
        <a:lstStyle/>
        <a:p>
          <a:endParaRPr lang="en-US"/>
        </a:p>
      </dgm:t>
    </dgm:pt>
    <dgm:pt modelId="{4DC36D43-C191-4DCB-B6C6-54C4BECDF020}" type="sibTrans" cxnId="{55DC285D-1470-4222-8E89-BE4F56C5F65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a:latin typeface="Times New Roman" panose="02020603050405020304" pitchFamily="18" charset="0"/>
              <a:cs typeface="Times New Roman" panose="02020603050405020304" pitchFamily="18" charset="0"/>
            </a:rPr>
            <a:t>Triển khai </a:t>
          </a:r>
          <a:r>
            <a:rPr lang="vi-VN" sz="2400" kern="1200">
              <a:latin typeface="Times New Roman" panose="02020603050405020304" pitchFamily="18" charset="0"/>
              <a:cs typeface="Times New Roman" panose="02020603050405020304" pitchFamily="18" charset="0"/>
            </a:rPr>
            <a:t>hiệu quả các</a:t>
          </a:r>
          <a:r>
            <a:rPr lang="it-IT" sz="2400" kern="1200">
              <a:latin typeface="Times New Roman" panose="02020603050405020304" pitchFamily="18" charset="0"/>
              <a:cs typeface="Times New Roman" panose="02020603050405020304" pitchFamily="18" charset="0"/>
            </a:rPr>
            <a:t> phương án xử lý vấn đề môi trường. Tăng cường công tác kiểm tra, quản lý chống lấn chiếm đất đai, khai thác tài nguyên khoáng sản. </a:t>
          </a:r>
          <a:r>
            <a:rPr lang="vi-VN" sz="2400" kern="1200">
              <a:latin typeface="Times New Roman" panose="02020603050405020304" pitchFamily="18" charset="0"/>
              <a:cs typeface="Times New Roman" panose="02020603050405020304" pitchFamily="18" charset="0"/>
            </a:rPr>
            <a:t>X</a:t>
          </a:r>
          <a:r>
            <a:rPr lang="it-IT" sz="2400" kern="1200">
              <a:latin typeface="Times New Roman" panose="02020603050405020304" pitchFamily="18" charset="0"/>
              <a:cs typeface="Times New Roman" panose="02020603050405020304" pitchFamily="18" charset="0"/>
            </a:rPr>
            <a:t>ây dựng Kế hoạch phòng chống thiên tai, tìm kiếm cứu nạn năm 2023</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D309DC18-174A-4F37-915F-610F1A7B95FB}">
      <dgm:prSet custT="1"/>
      <dgm:spPr>
        <a:solidFill>
          <a:schemeClr val="accent2">
            <a:lumMod val="20000"/>
            <a:lumOff val="80000"/>
            <a:alpha val="90000"/>
          </a:schemeClr>
        </a:solidFill>
      </dgm:spPr>
      <dgm:t>
        <a:bodyPr/>
        <a:lstStyle/>
        <a:p>
          <a:pPr algn="just">
            <a:buNone/>
          </a:pPr>
          <a:r>
            <a:rPr lang="it-IT" sz="2400" kern="1200">
              <a:latin typeface="Times New Roman" panose="02020603050405020304" pitchFamily="18" charset="0"/>
              <a:cs typeface="Times New Roman" panose="02020603050405020304" pitchFamily="18" charset="0"/>
            </a:rPr>
            <a:t>Tập trung triển khai quyết liệt, đồng bộ các giải pháp hỗ trợ phát triển sản xuất, kinh doanh; thúc đẩy hoạt động xuất khẩu. Kịp thời theo dõi, nắm bắt tình hình, tháo gỡ khó khăn cho doanh nghiệp</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422A5916-5E13-47D2-A7E8-5BE91CD14B7B}" type="parTrans" cxnId="{0F05AC3E-A175-45ED-A219-CC1EC1F39BD8}">
      <dgm:prSet/>
      <dgm:spPr/>
      <dgm:t>
        <a:bodyPr/>
        <a:lstStyle/>
        <a:p>
          <a:endParaRPr lang="en-US"/>
        </a:p>
      </dgm:t>
    </dgm:pt>
    <dgm:pt modelId="{75F9E508-6707-4068-B069-D4D3E8289F76}" type="sibTrans" cxnId="{0F05AC3E-A175-45ED-A219-CC1EC1F39BD8}">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4">
        <dgm:presLayoutVars>
          <dgm:chMax val="1"/>
          <dgm:bulletEnabled val="1"/>
        </dgm:presLayoutVars>
      </dgm:prSet>
      <dgm:spPr/>
    </dgm:pt>
    <dgm:pt modelId="{9770188F-3220-4119-9599-0FD33E998D96}" type="pres">
      <dgm:prSet presAssocID="{CE531857-95D9-4450-A523-F1CA7AE880F1}" presName="descendantText" presStyleLbl="alignAcc1" presStyleIdx="0" presStyleCnt="4">
        <dgm:presLayoutVars>
          <dgm:bulletEnabled val="1"/>
        </dgm:presLayoutVars>
      </dgm:prSet>
      <dgm:spPr/>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4">
        <dgm:presLayoutVars>
          <dgm:chMax val="1"/>
          <dgm:bulletEnabled val="1"/>
        </dgm:presLayoutVars>
      </dgm:prSet>
      <dgm:spPr/>
    </dgm:pt>
    <dgm:pt modelId="{594D2AB4-91B5-4F18-9ACA-1D51E359B741}" type="pres">
      <dgm:prSet presAssocID="{C1933DE2-883B-467A-A497-FC1A03521BD0}" presName="descendantText" presStyleLbl="alignAcc1" presStyleIdx="1" presStyleCnt="4" custScaleY="84053">
        <dgm:presLayoutVars>
          <dgm:bulletEnabled val="1"/>
        </dgm:presLayoutVars>
      </dgm:prSet>
      <dgm:spPr/>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4">
        <dgm:presLayoutVars>
          <dgm:chMax val="1"/>
          <dgm:bulletEnabled val="1"/>
        </dgm:presLayoutVars>
      </dgm:prSet>
      <dgm:spPr/>
    </dgm:pt>
    <dgm:pt modelId="{18D2B7CF-92DC-4C98-B7A8-681260E88B2C}" type="pres">
      <dgm:prSet presAssocID="{56D39143-023E-4C72-BBA5-EF173F9BD014}" presName="descendantText" presStyleLbl="alignAcc1" presStyleIdx="2" presStyleCnt="4" custScaleY="104741">
        <dgm:presLayoutVars>
          <dgm:bulletEnabled val="1"/>
        </dgm:presLayoutVars>
      </dgm:prSet>
      <dgm:spPr/>
    </dgm:pt>
    <dgm:pt modelId="{C6BFF5ED-B2A4-46F5-8B3A-C809D8D3C566}" type="pres">
      <dgm:prSet presAssocID="{F979FFB3-6427-4249-90BE-69B53EC9AD13}" presName="sp" presStyleCnt="0"/>
      <dgm:spPr/>
    </dgm:pt>
    <dgm:pt modelId="{7122DA74-36ED-4C3B-930E-E2653DF9234C}" type="pres">
      <dgm:prSet presAssocID="{87914017-FA12-4127-A184-E034C1EC6480}" presName="composite" presStyleCnt="0"/>
      <dgm:spPr/>
    </dgm:pt>
    <dgm:pt modelId="{62D4FF5F-BB58-4DAC-9260-24E1A247C3C5}" type="pres">
      <dgm:prSet presAssocID="{87914017-FA12-4127-A184-E034C1EC6480}" presName="parentText" presStyleLbl="alignNode1" presStyleIdx="3" presStyleCnt="4" custLinFactNeighborY="11781">
        <dgm:presLayoutVars>
          <dgm:chMax val="1"/>
          <dgm:bulletEnabled val="1"/>
        </dgm:presLayoutVars>
      </dgm:prSet>
      <dgm:spPr/>
    </dgm:pt>
    <dgm:pt modelId="{46F44EEA-00FF-478B-BA4D-FAA533FBEC40}" type="pres">
      <dgm:prSet presAssocID="{87914017-FA12-4127-A184-E034C1EC6480}" presName="descendantText" presStyleLbl="alignAcc1" presStyleIdx="3" presStyleCnt="4" custScaleX="99392" custScaleY="109679" custLinFactNeighborX="-297" custLinFactNeighborY="4660">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03A57C13-84A1-47F9-9654-3D8E9D1A7AC5}" srcId="{C1933DE2-883B-467A-A497-FC1A03521BD0}" destId="{439D5BA7-172F-4129-ACD1-22C6B6C19329}" srcOrd="0" destOrd="0" parTransId="{8B64A804-016B-409D-B50E-B11366C9E709}" sibTransId="{CA2B4599-8ADC-48A0-90B9-B09B905E51B6}"/>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30697023-59AA-4C91-BC11-635A4CFC6D73}" type="presOf" srcId="{D309DC18-174A-4F37-915F-610F1A7B95FB}" destId="{46F44EEA-00FF-478B-BA4D-FAA533FBEC40}" srcOrd="0" destOrd="0" presId="urn:microsoft.com/office/officeart/2005/8/layout/chevron2"/>
    <dgm:cxn modelId="{26794A34-D8C6-4415-BC12-96721F7B7CB0}" type="presOf" srcId="{439D5BA7-172F-4129-ACD1-22C6B6C19329}" destId="{594D2AB4-91B5-4F18-9ACA-1D51E359B741}"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0F05AC3E-A175-45ED-A219-CC1EC1F39BD8}" srcId="{87914017-FA12-4127-A184-E034C1EC6480}" destId="{D309DC18-174A-4F37-915F-610F1A7B95FB}" srcOrd="0" destOrd="0" parTransId="{422A5916-5E13-47D2-A7E8-5BE91CD14B7B}" sibTransId="{75F9E508-6707-4068-B069-D4D3E8289F76}"/>
    <dgm:cxn modelId="{55DC285D-1470-4222-8E89-BE4F56C5F65F}" srcId="{011C79E0-B116-4E55-8C54-A2CE86D2A740}" destId="{87914017-FA12-4127-A184-E034C1EC6480}" srcOrd="3" destOrd="0" parTransId="{F0E5AAF6-E516-4F11-97F6-F5ADCDD41BF9}" sibTransId="{4DC36D43-C191-4DCB-B6C6-54C4BECDF020}"/>
    <dgm:cxn modelId="{88AC068A-BA0C-4BE8-9CA2-D5EA93B65317}" type="presOf" srcId="{3D9335D1-031F-4F65-962F-9CDAB09D253B}" destId="{18D2B7CF-92DC-4C98-B7A8-681260E88B2C}"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87018493-5DCC-46DF-ADEB-440E6C1C91C8}" type="presOf" srcId="{C1933DE2-883B-467A-A497-FC1A03521BD0}" destId="{89164601-E0A1-4038-AED2-754D77EF4C41}"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64171CAC-7A3C-45A9-84AD-797ED4610BF4}" type="presOf" srcId="{87914017-FA12-4127-A184-E034C1EC6480}" destId="{62D4FF5F-BB58-4DAC-9260-24E1A247C3C5}" srcOrd="0" destOrd="0" presId="urn:microsoft.com/office/officeart/2005/8/layout/chevron2"/>
    <dgm:cxn modelId="{E309BFBF-A1BB-4F85-89CF-E531CEF7C843}" type="presOf" srcId="{56D39143-023E-4C72-BBA5-EF173F9BD014}" destId="{3DA4DBDD-86BF-4DC6-9D99-05C1C1BFB383}"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 modelId="{4F82E95F-5FC3-4E92-8488-E70A428C0966}" type="presParOf" srcId="{710DA7AD-DF2E-4B6F-8F66-B72A755643A6}" destId="{C6BFF5ED-B2A4-46F5-8B3A-C809D8D3C566}" srcOrd="5" destOrd="0" presId="urn:microsoft.com/office/officeart/2005/8/layout/chevron2"/>
    <dgm:cxn modelId="{26D1ABFC-18E5-446E-A440-E45FFC993329}" type="presParOf" srcId="{710DA7AD-DF2E-4B6F-8F66-B72A755643A6}" destId="{7122DA74-36ED-4C3B-930E-E2653DF9234C}" srcOrd="6" destOrd="0" presId="urn:microsoft.com/office/officeart/2005/8/layout/chevron2"/>
    <dgm:cxn modelId="{3D87914C-53BF-459E-8AFB-62B6BD74BFC4}" type="presParOf" srcId="{7122DA74-36ED-4C3B-930E-E2653DF9234C}" destId="{62D4FF5F-BB58-4DAC-9260-24E1A247C3C5}" srcOrd="0" destOrd="0" presId="urn:microsoft.com/office/officeart/2005/8/layout/chevron2"/>
    <dgm:cxn modelId="{64AEA35D-8274-4730-8551-D751B5E7E319}" type="presParOf" srcId="{7122DA74-36ED-4C3B-930E-E2653DF9234C}" destId="{46F44EEA-00FF-478B-BA4D-FAA533FBEC4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5</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phát triển các hoạt động thương mại, dịch vụ và du lịch; tăng cường hỗ trợ tìm kiếm đơn hàng xuất khẩu, nhất là các mặt hàng chủ lực của tỉnh và các mặt hàng đang có thị trường tiêu thụ. Tăng cường tuyên truyền, quảng bá và xúc tiến đầu tư về du lịch</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C1933DE2-883B-467A-A497-FC1A03521BD0}">
      <dgm:prSet phldrT="[Text]"/>
      <dgm:spPr/>
      <dgm:t>
        <a:bodyPr/>
        <a:lstStyle/>
        <a:p>
          <a:r>
            <a:rPr lang="en-US"/>
            <a:t>6</a:t>
          </a:r>
          <a:endParaRPr lang="en-US" dirty="0"/>
        </a:p>
      </dgm:t>
    </dgm:pt>
    <dgm:pt modelId="{182E3680-630D-484B-89B5-E15E838A98D1}" type="parTrans" cxnId="{252A553D-B51E-445A-9195-BCB6DCFBCE23}">
      <dgm:prSet/>
      <dgm:spPr/>
      <dgm:t>
        <a:bodyPr/>
        <a:lstStyle/>
        <a:p>
          <a:endParaRPr lang="en-US"/>
        </a:p>
      </dgm:t>
    </dgm:pt>
    <dgm:pt modelId="{477253D1-903F-4DD6-A7E7-0586DD6242ED}" type="sibTrans" cxnId="{252A553D-B51E-445A-9195-BCB6DCFBCE23}">
      <dgm:prSet/>
      <dgm:spPr/>
      <dgm:t>
        <a:bodyPr/>
        <a:lstStyle/>
        <a:p>
          <a:endParaRPr lang="en-US"/>
        </a:p>
      </dgm:t>
    </dgm:pt>
    <dgm:pt modelId="{56D39143-023E-4C72-BBA5-EF173F9BD014}">
      <dgm:prSet phldrT="[Text]"/>
      <dgm:spPr/>
      <dgm:t>
        <a:bodyPr/>
        <a:lstStyle/>
        <a:p>
          <a:r>
            <a:rPr lang="en-US"/>
            <a:t>7</a:t>
          </a:r>
          <a:endParaRPr lang="en-US" dirty="0"/>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triển khai hiệu quả 03 Chương trình mục tiêu quốc gia. Các tổ công tác kiểm tra, đôn đốc giải ngân vốn đầu tư công khẩn trương triển khai thực hiện nhiệm vụ. Kiên quyết điều hòa vốn đầu tư công từ Chủ đầu tư chưa thực hiện được sang Chủ đầu tư có nhu cầu bổ sung vốn</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26974BF8-3CAD-48B5-8695-AFDF1C1B40AB}">
      <dgm:prSet phldrT="[Text]" custT="1"/>
      <dgm:spPr>
        <a:solidFill>
          <a:schemeClr val="accent2">
            <a:lumMod val="20000"/>
            <a:lumOff val="80000"/>
            <a:alpha val="90000"/>
          </a:schemeClr>
        </a:solidFill>
      </dgm:spPr>
      <dgm:t>
        <a:bodyPr/>
        <a:lstStyle/>
        <a:p>
          <a:pPr algn="just">
            <a:buFontTx/>
            <a:buNone/>
          </a:pPr>
          <a:r>
            <a:rPr lang="it-IT" sz="2400" kern="1200">
              <a:latin typeface="Times New Roman" panose="02020603050405020304" pitchFamily="18" charset="0"/>
              <a:cs typeface="Times New Roman" panose="02020603050405020304" pitchFamily="18" charset="0"/>
            </a:rPr>
            <a:t>Đẩy mạnh các biện pháp chống thất thu thuế, nhất là thu nội địa để đảm bảo nhu cầu chi theo kế hoạch. Triển khai thực hiện kịp thời việc thu tiền sử dụng đất và tiền thuê đất năm 2023 theo kế hoạch. </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1E90FB2D-15A2-4557-9ACE-E0DBFFB46581}" type="parTrans" cxnId="{447A38CA-3088-488A-A0BB-53456DC1DD5B}">
      <dgm:prSet/>
      <dgm:spPr/>
      <dgm:t>
        <a:bodyPr/>
        <a:lstStyle/>
        <a:p>
          <a:endParaRPr lang="vi-VN"/>
        </a:p>
      </dgm:t>
    </dgm:pt>
    <dgm:pt modelId="{7364E365-CC5C-41C7-A485-77ECC80B4DA3}" type="sibTrans" cxnId="{447A38CA-3088-488A-A0BB-53456DC1DD5B}">
      <dgm:prSet/>
      <dgm:spPr/>
      <dgm:t>
        <a:bodyPr/>
        <a:lstStyle/>
        <a:p>
          <a:endParaRPr lang="vi-VN"/>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3">
        <dgm:presLayoutVars>
          <dgm:chMax val="1"/>
          <dgm:bulletEnabled val="1"/>
        </dgm:presLayoutVars>
      </dgm:prSet>
      <dgm:spPr/>
    </dgm:pt>
    <dgm:pt modelId="{9770188F-3220-4119-9599-0FD33E998D96}" type="pres">
      <dgm:prSet presAssocID="{CE531857-95D9-4450-A523-F1CA7AE880F1}" presName="descendantText" presStyleLbl="alignAcc1" presStyleIdx="0" presStyleCnt="3" custScaleY="154339">
        <dgm:presLayoutVars>
          <dgm:bulletEnabled val="1"/>
        </dgm:presLayoutVars>
      </dgm:prSet>
      <dgm:spPr/>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3">
        <dgm:presLayoutVars>
          <dgm:chMax val="1"/>
          <dgm:bulletEnabled val="1"/>
        </dgm:presLayoutVars>
      </dgm:prSet>
      <dgm:spPr/>
    </dgm:pt>
    <dgm:pt modelId="{594D2AB4-91B5-4F18-9ACA-1D51E359B741}" type="pres">
      <dgm:prSet presAssocID="{C1933DE2-883B-467A-A497-FC1A03521BD0}" presName="descendantText" presStyleLbl="alignAcc1" presStyleIdx="1" presStyleCnt="3" custScaleY="150009">
        <dgm:presLayoutVars>
          <dgm:bulletEnabled val="1"/>
        </dgm:presLayoutVars>
      </dgm:prSet>
      <dgm:spPr/>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3">
        <dgm:presLayoutVars>
          <dgm:chMax val="1"/>
          <dgm:bulletEnabled val="1"/>
        </dgm:presLayoutVars>
      </dgm:prSet>
      <dgm:spPr/>
    </dgm:pt>
    <dgm:pt modelId="{18D2B7CF-92DC-4C98-B7A8-681260E88B2C}" type="pres">
      <dgm:prSet presAssocID="{56D39143-023E-4C72-BBA5-EF173F9BD014}" presName="descendantText" presStyleLbl="alignAcc1" presStyleIdx="2" presStyleCnt="3" custScaleX="99520" custScaleY="133519">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0463A511-E772-4ED1-B0CA-102E0848F73E}" type="presOf" srcId="{26974BF8-3CAD-48B5-8695-AFDF1C1B40AB}" destId="{594D2AB4-91B5-4F18-9ACA-1D51E359B741}"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88AC068A-BA0C-4BE8-9CA2-D5EA93B65317}" type="presOf" srcId="{3D9335D1-031F-4F65-962F-9CDAB09D253B}" destId="{18D2B7CF-92DC-4C98-B7A8-681260E88B2C}"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87018493-5DCC-46DF-ADEB-440E6C1C91C8}" type="presOf" srcId="{C1933DE2-883B-467A-A497-FC1A03521BD0}" destId="{89164601-E0A1-4038-AED2-754D77EF4C41}"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E309BFBF-A1BB-4F85-89CF-E531CEF7C843}" type="presOf" srcId="{56D39143-023E-4C72-BBA5-EF173F9BD014}" destId="{3DA4DBDD-86BF-4DC6-9D99-05C1C1BFB383}" srcOrd="0" destOrd="0" presId="urn:microsoft.com/office/officeart/2005/8/layout/chevron2"/>
    <dgm:cxn modelId="{447A38CA-3088-488A-A0BB-53456DC1DD5B}" srcId="{C1933DE2-883B-467A-A497-FC1A03521BD0}" destId="{26974BF8-3CAD-48B5-8695-AFDF1C1B40AB}" srcOrd="0" destOrd="0" parTransId="{1E90FB2D-15A2-4557-9ACE-E0DBFFB46581}" sibTransId="{7364E365-CC5C-41C7-A485-77ECC80B4DA3}"/>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8</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56D39143-023E-4C72-BBA5-EF173F9BD014}">
      <dgm:prSet phldrT="[Text]"/>
      <dgm:spPr/>
      <dgm:t>
        <a:bodyPr/>
        <a:lstStyle/>
        <a:p>
          <a:r>
            <a:rPr lang="en-US"/>
            <a:t>10</a:t>
          </a:r>
          <a:endParaRPr lang="en-US" dirty="0"/>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a:latin typeface="Times New Roman" panose="02020603050405020304" pitchFamily="18" charset="0"/>
              <a:cs typeface="Times New Roman" panose="02020603050405020304" pitchFamily="18" charset="0"/>
            </a:rPr>
            <a:t>Tăng cường công tác quốc phòng - an ninh, bảo đảm trật tự an toàn xã hội; tiếp tục triển khai nhiệm vụ quân sự, nhất là diễn tập khu vực phòng thủ tỉnh năm 2023. Thực hiện kịp thời, hiệu quả các nhiệm vụ theo Đề án 06 của Chính phủ</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26974BF8-3CAD-48B5-8695-AFDF1C1B40AB}">
      <dgm:prSet phldrT="[Text]" custT="1"/>
      <dgm:spPr>
        <a:solidFill>
          <a:schemeClr val="accent2">
            <a:lumMod val="20000"/>
            <a:lumOff val="80000"/>
            <a:alpha val="90000"/>
          </a:schemeClr>
        </a:solidFill>
      </dgm:spPr>
      <dgm:t>
        <a:bodyPr/>
        <a:lstStyle/>
        <a:p>
          <a:pPr algn="just">
            <a:buFontTx/>
            <a:buNone/>
          </a:pPr>
          <a:r>
            <a:rPr lang="it-IT" sz="2400" kern="1200">
              <a:latin typeface="Times New Roman" panose="02020603050405020304" pitchFamily="18" charset="0"/>
              <a:cs typeface="Times New Roman" panose="02020603050405020304" pitchFamily="18" charset="0"/>
            </a:rPr>
            <a:t>Nâng cao chất lượng, hiệu quả hoạt động của hệ thống chính quyền các cấp, trách nhiệm của người đứng đầu các cơ quan, đơn vị. Đẩy mạnh công tác cải cách hành chính, nhất là cải cách thủ tục hành chính</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1E90FB2D-15A2-4557-9ACE-E0DBFFB46581}" type="parTrans" cxnId="{447A38CA-3088-488A-A0BB-53456DC1DD5B}">
      <dgm:prSet/>
      <dgm:spPr/>
      <dgm:t>
        <a:bodyPr/>
        <a:lstStyle/>
        <a:p>
          <a:endParaRPr lang="vi-VN"/>
        </a:p>
      </dgm:t>
    </dgm:pt>
    <dgm:pt modelId="{7364E365-CC5C-41C7-A485-77ECC80B4DA3}" type="sibTrans" cxnId="{447A38CA-3088-488A-A0BB-53456DC1DD5B}">
      <dgm:prSet/>
      <dgm:spPr/>
      <dgm:t>
        <a:bodyPr/>
        <a:lstStyle/>
        <a:p>
          <a:endParaRPr lang="vi-VN"/>
        </a:p>
      </dgm:t>
    </dgm:pt>
    <dgm:pt modelId="{50E7DB17-231F-49FB-9D5A-ED9FC71B2235}">
      <dgm:prSet phldrT="[Text]"/>
      <dgm:spPr/>
      <dgm:t>
        <a:bodyPr/>
        <a:lstStyle/>
        <a:p>
          <a:r>
            <a:rPr lang="en-US"/>
            <a:t>9</a:t>
          </a:r>
          <a:endParaRPr lang="en-US" dirty="0"/>
        </a:p>
      </dgm:t>
    </dgm:pt>
    <dgm:pt modelId="{513E0F96-2837-4BC2-AA0E-1F24CF412FCD}" type="parTrans" cxnId="{8A88B6DA-591A-41E8-8D2D-D69AF468049E}">
      <dgm:prSet/>
      <dgm:spPr/>
      <dgm:t>
        <a:bodyPr/>
        <a:lstStyle/>
        <a:p>
          <a:endParaRPr lang="vi-VN"/>
        </a:p>
      </dgm:t>
    </dgm:pt>
    <dgm:pt modelId="{8B0EA4BB-0D06-411E-85BA-FD5428D97BBE}" type="sibTrans" cxnId="{8A88B6DA-591A-41E8-8D2D-D69AF468049E}">
      <dgm:prSet/>
      <dgm:spPr/>
      <dgm:t>
        <a:bodyPr/>
        <a:lstStyle/>
        <a:p>
          <a:endParaRPr lang="vi-VN"/>
        </a:p>
      </dgm:t>
    </dgm:pt>
    <dgm:pt modelId="{59649C3E-7595-4B15-87D1-E2B1D0899030}">
      <dgm:prSet phldrT="[Text]" custT="1"/>
      <dgm:spPr>
        <a:solidFill>
          <a:srgbClr val="ED7D31">
            <a:lumMod val="20000"/>
            <a:lumOff val="80000"/>
            <a:alpha val="90000"/>
          </a:srgbClr>
        </a:solidFill>
        <a:ln w="12700" cap="flat" cmpd="sng" algn="ctr">
          <a:solidFill>
            <a:srgbClr val="5B9BD5">
              <a:hueOff val="0"/>
              <a:satOff val="0"/>
              <a:lumOff val="0"/>
              <a:alphaOff val="0"/>
            </a:srgbClr>
          </a:solidFill>
          <a:prstDash val="solid"/>
          <a:miter lim="800000"/>
        </a:ln>
        <a:effectLst/>
      </dgm:spPr>
      <dgm:t>
        <a:bodyPr spcFirstLastPara="0" vert="horz" wrap="square" lIns="170688" tIns="15240" rIns="15240" bIns="15240" numCol="1" spcCol="1270" anchor="ctr" anchorCtr="0"/>
        <a:lstStyle/>
        <a:p>
          <a:pPr marL="228600" lvl="1" indent="-228600" algn="just" defTabSz="1066800">
            <a:lnSpc>
              <a:spcPct val="90000"/>
            </a:lnSpc>
            <a:spcBef>
              <a:spcPct val="0"/>
            </a:spcBef>
            <a:spcAft>
              <a:spcPct val="15000"/>
            </a:spcAft>
            <a:buFontTx/>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Nâng cao chất lượng hoạt động trên các lĩnh vực văn hóa - xã hội. Tập trung hoàn thành việc tuyển sinh, chuẩn bị cơ sở vật chất cho năm học 2023- 2024. Thực hiện tốt công tác bảo trợ xã hội, chính sách đối với người có công, công tác bảo vệ chăm sóc trẻ em...</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6B3B60B3-506A-4258-9C64-0C38F14BB57C}" type="parTrans" cxnId="{905A94AA-4824-4C39-916B-884B71B60CA0}">
      <dgm:prSet/>
      <dgm:spPr/>
      <dgm:t>
        <a:bodyPr/>
        <a:lstStyle/>
        <a:p>
          <a:endParaRPr lang="vi-VN"/>
        </a:p>
      </dgm:t>
    </dgm:pt>
    <dgm:pt modelId="{01D1657D-6C6A-4D02-B7F7-32B39CF13B53}" type="sibTrans" cxnId="{905A94AA-4824-4C39-916B-884B71B60CA0}">
      <dgm:prSet/>
      <dgm:spPr/>
      <dgm:t>
        <a:bodyPr/>
        <a:lstStyle/>
        <a:p>
          <a:endParaRPr lang="vi-VN"/>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3">
        <dgm:presLayoutVars>
          <dgm:chMax val="1"/>
          <dgm:bulletEnabled val="1"/>
        </dgm:presLayoutVars>
      </dgm:prSet>
      <dgm:spPr/>
    </dgm:pt>
    <dgm:pt modelId="{9770188F-3220-4119-9599-0FD33E998D96}" type="pres">
      <dgm:prSet presAssocID="{CE531857-95D9-4450-A523-F1CA7AE880F1}" presName="descendantText" presStyleLbl="alignAcc1" presStyleIdx="0" presStyleCnt="3" custScaleY="107703">
        <dgm:presLayoutVars>
          <dgm:bulletEnabled val="1"/>
        </dgm:presLayoutVars>
      </dgm:prSet>
      <dgm:spPr>
        <a:xfrm rot="5400000">
          <a:off x="5317421" y="-3960415"/>
          <a:ext cx="1617062" cy="9547514"/>
        </a:xfrm>
        <a:prstGeom prst="round2SameRect">
          <a:avLst/>
        </a:prstGeom>
      </dgm:spPr>
    </dgm:pt>
    <dgm:pt modelId="{7F4255E7-FA3E-4176-8361-F3068433BD36}" type="pres">
      <dgm:prSet presAssocID="{6F0CD08A-C498-4E17-88C3-1D1175F05039}" presName="sp" presStyleCnt="0"/>
      <dgm:spPr/>
    </dgm:pt>
    <dgm:pt modelId="{D25AA925-0982-460A-B57C-1381D570AA8B}" type="pres">
      <dgm:prSet presAssocID="{50E7DB17-231F-49FB-9D5A-ED9FC71B2235}" presName="composite" presStyleCnt="0"/>
      <dgm:spPr/>
    </dgm:pt>
    <dgm:pt modelId="{9C927D3F-96DD-4899-B770-A6D5097F5583}" type="pres">
      <dgm:prSet presAssocID="{50E7DB17-231F-49FB-9D5A-ED9FC71B2235}" presName="parentText" presStyleLbl="alignNode1" presStyleIdx="1" presStyleCnt="3">
        <dgm:presLayoutVars>
          <dgm:chMax val="1"/>
          <dgm:bulletEnabled val="1"/>
        </dgm:presLayoutVars>
      </dgm:prSet>
      <dgm:spPr/>
    </dgm:pt>
    <dgm:pt modelId="{E7C2546B-48AF-49F2-98C9-BBDBC1222DA4}" type="pres">
      <dgm:prSet presAssocID="{50E7DB17-231F-49FB-9D5A-ED9FC71B2235}" presName="descendantText" presStyleLbl="alignAcc1" presStyleIdx="1" presStyleCnt="3">
        <dgm:presLayoutVars>
          <dgm:bulletEnabled val="1"/>
        </dgm:presLayoutVars>
      </dgm:prSet>
      <dgm:spPr/>
    </dgm:pt>
    <dgm:pt modelId="{C46D3E20-F1E8-472E-A7C3-16618FBAB41F}" type="pres">
      <dgm:prSet presAssocID="{8B0EA4BB-0D06-411E-85BA-FD5428D97BBE}"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3">
        <dgm:presLayoutVars>
          <dgm:chMax val="1"/>
          <dgm:bulletEnabled val="1"/>
        </dgm:presLayoutVars>
      </dgm:prSet>
      <dgm:spPr/>
    </dgm:pt>
    <dgm:pt modelId="{18D2B7CF-92DC-4C98-B7A8-681260E88B2C}" type="pres">
      <dgm:prSet presAssocID="{56D39143-023E-4C72-BBA5-EF173F9BD014}" presName="descendantText" presStyleLbl="alignAcc1" presStyleIdx="2" presStyleCnt="3" custScaleX="99520" custScaleY="111955">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EC34D014-5DFE-4E48-B836-8AFFDC155B80}" type="presOf" srcId="{26974BF8-3CAD-48B5-8695-AFDF1C1B40AB}" destId="{E7C2546B-48AF-49F2-98C9-BBDBC1222DA4}" srcOrd="0" destOrd="0" presId="urn:microsoft.com/office/officeart/2005/8/layout/chevron2"/>
    <dgm:cxn modelId="{6DB6CD16-8C42-40BF-86E2-CF07DE194869}" type="presOf" srcId="{50E7DB17-231F-49FB-9D5A-ED9FC71B2235}" destId="{9C927D3F-96DD-4899-B770-A6D5097F5583}"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88AC068A-BA0C-4BE8-9CA2-D5EA93B65317}" type="presOf" srcId="{3D9335D1-031F-4F65-962F-9CDAB09D253B}" destId="{18D2B7CF-92DC-4C98-B7A8-681260E88B2C}"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905A94AA-4824-4C39-916B-884B71B60CA0}" srcId="{CE531857-95D9-4450-A523-F1CA7AE880F1}" destId="{59649C3E-7595-4B15-87D1-E2B1D0899030}" srcOrd="0" destOrd="0" parTransId="{6B3B60B3-506A-4258-9C64-0C38F14BB57C}" sibTransId="{01D1657D-6C6A-4D02-B7F7-32B39CF13B53}"/>
    <dgm:cxn modelId="{93E7AEB2-B66B-4E6F-A38E-F4EA7AE5216C}" type="presOf" srcId="{59649C3E-7595-4B15-87D1-E2B1D0899030}" destId="{9770188F-3220-4119-9599-0FD33E998D96}" srcOrd="0" destOrd="0" presId="urn:microsoft.com/office/officeart/2005/8/layout/chevron2"/>
    <dgm:cxn modelId="{E309BFBF-A1BB-4F85-89CF-E531CEF7C843}" type="presOf" srcId="{56D39143-023E-4C72-BBA5-EF173F9BD014}" destId="{3DA4DBDD-86BF-4DC6-9D99-05C1C1BFB383}" srcOrd="0" destOrd="0" presId="urn:microsoft.com/office/officeart/2005/8/layout/chevron2"/>
    <dgm:cxn modelId="{447A38CA-3088-488A-A0BB-53456DC1DD5B}" srcId="{50E7DB17-231F-49FB-9D5A-ED9FC71B2235}" destId="{26974BF8-3CAD-48B5-8695-AFDF1C1B40AB}" srcOrd="0" destOrd="0" parTransId="{1E90FB2D-15A2-4557-9ACE-E0DBFFB46581}" sibTransId="{7364E365-CC5C-41C7-A485-77ECC80B4DA3}"/>
    <dgm:cxn modelId="{8A88B6DA-591A-41E8-8D2D-D69AF468049E}" srcId="{011C79E0-B116-4E55-8C54-A2CE86D2A740}" destId="{50E7DB17-231F-49FB-9D5A-ED9FC71B2235}" srcOrd="1" destOrd="0" parTransId="{513E0F96-2837-4BC2-AA0E-1F24CF412FCD}" sibTransId="{8B0EA4BB-0D06-411E-85BA-FD5428D97BBE}"/>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81D156D6-DD1E-47C8-99FD-6F8E6935A574}" type="presParOf" srcId="{710DA7AD-DF2E-4B6F-8F66-B72A755643A6}" destId="{D25AA925-0982-460A-B57C-1381D570AA8B}" srcOrd="2" destOrd="0" presId="urn:microsoft.com/office/officeart/2005/8/layout/chevron2"/>
    <dgm:cxn modelId="{F28570AA-DB58-4D52-B095-3CF48BEC6D6B}" type="presParOf" srcId="{D25AA925-0982-460A-B57C-1381D570AA8B}" destId="{9C927D3F-96DD-4899-B770-A6D5097F5583}" srcOrd="0" destOrd="0" presId="urn:microsoft.com/office/officeart/2005/8/layout/chevron2"/>
    <dgm:cxn modelId="{B633FF94-AF77-4EE3-B348-3C699D50BECE}" type="presParOf" srcId="{D25AA925-0982-460A-B57C-1381D570AA8B}" destId="{E7C2546B-48AF-49F2-98C9-BBDBC1222DA4}" srcOrd="1" destOrd="0" presId="urn:microsoft.com/office/officeart/2005/8/layout/chevron2"/>
    <dgm:cxn modelId="{71B4E6F6-2F45-47CD-BC76-C4CCA039C0A4}" type="presParOf" srcId="{710DA7AD-DF2E-4B6F-8F66-B72A755643A6}" destId="{C46D3E20-F1E8-472E-A7C3-16618FBAB41F}"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C03258-706B-4398-8534-8228545EC45E}">
      <dsp:nvSpPr>
        <dsp:cNvPr id="0" name=""/>
        <dsp:cNvSpPr/>
      </dsp:nvSpPr>
      <dsp:spPr>
        <a:xfrm>
          <a:off x="-33048" y="5403480"/>
          <a:ext cx="1086933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7C13CD-C13D-4E65-868A-8573DEC9CD61}">
      <dsp:nvSpPr>
        <dsp:cNvPr id="0" name=""/>
        <dsp:cNvSpPr/>
      </dsp:nvSpPr>
      <dsp:spPr>
        <a:xfrm>
          <a:off x="0" y="4313158"/>
          <a:ext cx="1086933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E02C26-EE18-42A4-BE48-6789A6997DB0}">
      <dsp:nvSpPr>
        <dsp:cNvPr id="0" name=""/>
        <dsp:cNvSpPr/>
      </dsp:nvSpPr>
      <dsp:spPr>
        <a:xfrm>
          <a:off x="0" y="3222836"/>
          <a:ext cx="1086933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0233" y="2132514"/>
          <a:ext cx="1086933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042192"/>
          <a:ext cx="1086933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420217" y="242830"/>
          <a:ext cx="9318011" cy="540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ts val="0"/>
            </a:spcAft>
            <a:buNone/>
          </a:pPr>
          <a:r>
            <a:rPr lang="en-US" sz="2000" kern="1200">
              <a:latin typeface="Times New Roman" panose="02020603050405020304" pitchFamily="18" charset="0"/>
              <a:cs typeface="Times New Roman" panose="02020603050405020304" pitchFamily="18" charset="0"/>
            </a:rPr>
            <a:t>Thu hút đầu tư trong nước đạt kết quả tích cực, so với cùng kỳ năm 2022 đã thu hút tăng 28,21% về số dự án và tăng 42,89% về vốn đăng ký</a:t>
          </a:r>
        </a:p>
      </dsp:txBody>
      <dsp:txXfrm>
        <a:off x="1420217" y="242830"/>
        <a:ext cx="9318011" cy="540176"/>
      </dsp:txXfrm>
    </dsp:sp>
    <dsp:sp modelId="{2DA8B601-D096-476E-BD4A-9B0B2E7AAA16}">
      <dsp:nvSpPr>
        <dsp:cNvPr id="0" name=""/>
        <dsp:cNvSpPr/>
      </dsp:nvSpPr>
      <dsp:spPr>
        <a:xfrm>
          <a:off x="0" y="3790"/>
          <a:ext cx="1161553" cy="1038401"/>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1</a:t>
          </a:r>
        </a:p>
      </dsp:txBody>
      <dsp:txXfrm>
        <a:off x="50700" y="54490"/>
        <a:ext cx="1060153" cy="987701"/>
      </dsp:txXfrm>
    </dsp:sp>
    <dsp:sp modelId="{3B6881F4-25C6-42D9-B9DE-65CD14AABBD2}">
      <dsp:nvSpPr>
        <dsp:cNvPr id="0" name=""/>
        <dsp:cNvSpPr/>
      </dsp:nvSpPr>
      <dsp:spPr>
        <a:xfrm>
          <a:off x="1405297" y="1175751"/>
          <a:ext cx="9490298" cy="85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vi-VN" sz="1800" b="0" kern="1200">
              <a:solidFill>
                <a:schemeClr val="tx1"/>
              </a:solidFill>
              <a:effectLst/>
              <a:latin typeface="Times New Roman" panose="02020603050405020304" pitchFamily="18" charset="0"/>
              <a:ea typeface="+mn-ea"/>
              <a:cs typeface="Times New Roman" panose="02020603050405020304" pitchFamily="18" charset="0"/>
            </a:rPr>
            <a:t>Trong công tác phối hợp thu hút đầu tư, thời gian qua UBND các địa phương đã rất tích cực cùng với các cơ quan liên quan của tỉnh giải quyết các khó khăn vướng mắc của nhà đầu tư một cách kịp thời, đặc biệt là công tác bồi thường, giải phóng mặt bằng (điển hình như huyện Tây Sơn, Phù Cát,…)</a:t>
          </a:r>
          <a:endParaRPr lang="en-US" sz="1800" kern="1200">
            <a:latin typeface="Times New Roman" panose="02020603050405020304" pitchFamily="18" charset="0"/>
            <a:cs typeface="Times New Roman" panose="02020603050405020304" pitchFamily="18" charset="0"/>
          </a:endParaRPr>
        </a:p>
      </dsp:txBody>
      <dsp:txXfrm>
        <a:off x="1405297" y="1175751"/>
        <a:ext cx="9490298" cy="854978"/>
      </dsp:txXfrm>
    </dsp:sp>
    <dsp:sp modelId="{F554227D-044F-4DE2-8960-72AD0A2E7D8A}">
      <dsp:nvSpPr>
        <dsp:cNvPr id="0" name=""/>
        <dsp:cNvSpPr/>
      </dsp:nvSpPr>
      <dsp:spPr>
        <a:xfrm>
          <a:off x="0" y="1094112"/>
          <a:ext cx="1161553" cy="1038401"/>
        </a:xfrm>
        <a:prstGeom prst="round2SameRect">
          <a:avLst>
            <a:gd name="adj1" fmla="val 16670"/>
            <a:gd name="adj2" fmla="val 0"/>
          </a:avLst>
        </a:prstGeom>
        <a:gradFill rotWithShape="0">
          <a:gsLst>
            <a:gs pos="0">
              <a:schemeClr val="accent2">
                <a:hueOff val="-363841"/>
                <a:satOff val="-20982"/>
                <a:lumOff val="2157"/>
                <a:alphaOff val="0"/>
                <a:lumMod val="110000"/>
                <a:satMod val="105000"/>
                <a:tint val="67000"/>
              </a:schemeClr>
            </a:gs>
            <a:gs pos="50000">
              <a:schemeClr val="accent2">
                <a:hueOff val="-363841"/>
                <a:satOff val="-20982"/>
                <a:lumOff val="2157"/>
                <a:alphaOff val="0"/>
                <a:lumMod val="105000"/>
                <a:satMod val="103000"/>
                <a:tint val="73000"/>
              </a:schemeClr>
            </a:gs>
            <a:gs pos="100000">
              <a:schemeClr val="accent2">
                <a:hueOff val="-363841"/>
                <a:satOff val="-20982"/>
                <a:lumOff val="2157"/>
                <a:alphaOff val="0"/>
                <a:lumMod val="105000"/>
                <a:satMod val="109000"/>
                <a:tint val="81000"/>
              </a:schemeClr>
            </a:gs>
          </a:gsLst>
          <a:lin ang="5400000" scaled="0"/>
        </a:gradFill>
        <a:ln w="6350" cap="flat" cmpd="sng" algn="ctr">
          <a:solidFill>
            <a:schemeClr val="accent2">
              <a:hueOff val="-363841"/>
              <a:satOff val="-20982"/>
              <a:lumOff val="2157"/>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2</a:t>
          </a:r>
        </a:p>
      </dsp:txBody>
      <dsp:txXfrm>
        <a:off x="50700" y="1144812"/>
        <a:ext cx="1060153" cy="987701"/>
      </dsp:txXfrm>
    </dsp:sp>
    <dsp:sp modelId="{C9CEDFDF-D679-479A-9C36-1A5C21B9F768}">
      <dsp:nvSpPr>
        <dsp:cNvPr id="0" name=""/>
        <dsp:cNvSpPr/>
      </dsp:nvSpPr>
      <dsp:spPr>
        <a:xfrm>
          <a:off x="1380584" y="2154217"/>
          <a:ext cx="9579016" cy="1038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800100">
            <a:lnSpc>
              <a:spcPct val="90000"/>
            </a:lnSpc>
            <a:spcBef>
              <a:spcPct val="0"/>
            </a:spcBef>
            <a:spcAft>
              <a:spcPct val="35000"/>
            </a:spcAft>
            <a:buNone/>
          </a:pPr>
          <a:r>
            <a:rPr lang="en-US" sz="1800" b="0" kern="1200" baseline="0">
              <a:solidFill>
                <a:schemeClr val="tx1"/>
              </a:solidFill>
              <a:effectLst/>
              <a:latin typeface="Times New Roman" panose="02020603050405020304" pitchFamily="18" charset="0"/>
              <a:ea typeface="+mn-ea"/>
              <a:cs typeface="Times New Roman" panose="02020603050405020304" pitchFamily="18" charset="0"/>
            </a:rPr>
            <a:t>Một số địa phương thu ngân sách đến nay đã vượt dự toán cả năm 2023, nổi bật là </a:t>
          </a:r>
          <a:r>
            <a:rPr lang="vi-VN" sz="1800" b="0" kern="1200">
              <a:solidFill>
                <a:schemeClr val="tx1"/>
              </a:solidFill>
              <a:effectLst/>
              <a:latin typeface="Times New Roman" panose="02020603050405020304" pitchFamily="18" charset="0"/>
              <a:ea typeface="+mn-ea"/>
              <a:cs typeface="Times New Roman" panose="02020603050405020304" pitchFamily="18" charset="0"/>
            </a:rPr>
            <a:t>huyện Phù Cát hơn 620 tỷ đồng (đạt 122,3% dự toán, tăng 20% so cùng kỳ); Hoài Ân 112,2 tỷ đồng</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vi-VN" sz="1800" b="0" kern="1200">
              <a:solidFill>
                <a:schemeClr val="tx1"/>
              </a:solidFill>
              <a:effectLst/>
              <a:latin typeface="Times New Roman" panose="02020603050405020304" pitchFamily="18" charset="0"/>
              <a:ea typeface="+mn-ea"/>
              <a:cs typeface="Times New Roman" panose="02020603050405020304" pitchFamily="18" charset="0"/>
            </a:rPr>
            <a:t>đạt 112,6% dự toán năm và tăng 17,9% so cùng kỳ; Vân Canh</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vi-VN" sz="1800" b="0" kern="1200">
              <a:solidFill>
                <a:schemeClr val="tx1"/>
              </a:solidFill>
              <a:effectLst/>
              <a:latin typeface="Times New Roman" panose="02020603050405020304" pitchFamily="18" charset="0"/>
              <a:ea typeface="+mn-ea"/>
              <a:cs typeface="Times New Roman" panose="02020603050405020304" pitchFamily="18" charset="0"/>
            </a:rPr>
            <a:t>116 tỷ đồng, đạt 141,3% dự toán và tăng 62,5% so cùng kỳ </a:t>
          </a:r>
          <a:endParaRPr lang="en-US" sz="1800" kern="1200">
            <a:latin typeface="Times New Roman" panose="02020603050405020304" pitchFamily="18" charset="0"/>
            <a:cs typeface="Times New Roman" panose="02020603050405020304" pitchFamily="18" charset="0"/>
          </a:endParaRPr>
        </a:p>
      </dsp:txBody>
      <dsp:txXfrm>
        <a:off x="1380584" y="2154217"/>
        <a:ext cx="9579016" cy="1038401"/>
      </dsp:txXfrm>
    </dsp:sp>
    <dsp:sp modelId="{26A338F4-670E-4B7D-B9AC-9CAB07FDE5E1}">
      <dsp:nvSpPr>
        <dsp:cNvPr id="0" name=""/>
        <dsp:cNvSpPr/>
      </dsp:nvSpPr>
      <dsp:spPr>
        <a:xfrm>
          <a:off x="0" y="2184434"/>
          <a:ext cx="1161553" cy="1038401"/>
        </a:xfrm>
        <a:prstGeom prst="round2SameRect">
          <a:avLst>
            <a:gd name="adj1" fmla="val 16670"/>
            <a:gd name="adj2" fmla="val 0"/>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3</a:t>
          </a:r>
        </a:p>
      </dsp:txBody>
      <dsp:txXfrm>
        <a:off x="50700" y="2235134"/>
        <a:ext cx="1060153" cy="987701"/>
      </dsp:txXfrm>
    </dsp:sp>
    <dsp:sp modelId="{8D2EFB67-B1CE-45EF-A10A-28C5F1E2DEA3}">
      <dsp:nvSpPr>
        <dsp:cNvPr id="0" name=""/>
        <dsp:cNvSpPr/>
      </dsp:nvSpPr>
      <dsp:spPr>
        <a:xfrm>
          <a:off x="1470448" y="3451622"/>
          <a:ext cx="9179827" cy="6846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kern="1200">
              <a:latin typeface="Times New Roman" panose="02020603050405020304" pitchFamily="18" charset="0"/>
              <a:cs typeface="Times New Roman" panose="02020603050405020304" pitchFamily="18" charset="0"/>
            </a:rPr>
            <a:t>Công tác giải ngân vốn đầu tư công được chỉ đạo quyết liệt, kịp thời điều chuyển kế hoạch vốn từ dự án giải ngân chậm sang các dự án có tiến độ thực hiện giải ngân tốt</a:t>
          </a:r>
        </a:p>
      </dsp:txBody>
      <dsp:txXfrm>
        <a:off x="1470448" y="3451622"/>
        <a:ext cx="9179827" cy="684670"/>
      </dsp:txXfrm>
    </dsp:sp>
    <dsp:sp modelId="{43AC833B-96AE-40BD-B7E6-75B1C76810E5}">
      <dsp:nvSpPr>
        <dsp:cNvPr id="0" name=""/>
        <dsp:cNvSpPr/>
      </dsp:nvSpPr>
      <dsp:spPr>
        <a:xfrm>
          <a:off x="0" y="3274756"/>
          <a:ext cx="1161553" cy="1038401"/>
        </a:xfrm>
        <a:prstGeom prst="round2SameRect">
          <a:avLst>
            <a:gd name="adj1" fmla="val 16670"/>
            <a:gd name="adj2" fmla="val 0"/>
          </a:avLst>
        </a:prstGeom>
        <a:gradFill rotWithShape="0">
          <a:gsLst>
            <a:gs pos="0">
              <a:schemeClr val="accent2">
                <a:hueOff val="-1091522"/>
                <a:satOff val="-62946"/>
                <a:lumOff val="6471"/>
                <a:alphaOff val="0"/>
                <a:lumMod val="110000"/>
                <a:satMod val="105000"/>
                <a:tint val="67000"/>
              </a:schemeClr>
            </a:gs>
            <a:gs pos="50000">
              <a:schemeClr val="accent2">
                <a:hueOff val="-1091522"/>
                <a:satOff val="-62946"/>
                <a:lumOff val="6471"/>
                <a:alphaOff val="0"/>
                <a:lumMod val="105000"/>
                <a:satMod val="103000"/>
                <a:tint val="73000"/>
              </a:schemeClr>
            </a:gs>
            <a:gs pos="100000">
              <a:schemeClr val="accent2">
                <a:hueOff val="-1091522"/>
                <a:satOff val="-62946"/>
                <a:lumOff val="6471"/>
                <a:alphaOff val="0"/>
                <a:lumMod val="105000"/>
                <a:satMod val="109000"/>
                <a:tint val="81000"/>
              </a:schemeClr>
            </a:gs>
          </a:gsLst>
          <a:lin ang="5400000" scaled="0"/>
        </a:gradFill>
        <a:ln w="6350" cap="flat" cmpd="sng" algn="ctr">
          <a:solidFill>
            <a:schemeClr val="accent2">
              <a:hueOff val="-1091522"/>
              <a:satOff val="-62946"/>
              <a:lumOff val="6471"/>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4</a:t>
          </a:r>
        </a:p>
      </dsp:txBody>
      <dsp:txXfrm>
        <a:off x="50700" y="3325456"/>
        <a:ext cx="1060153" cy="987701"/>
      </dsp:txXfrm>
    </dsp:sp>
    <dsp:sp modelId="{4318D34E-2291-4A35-A77E-28934001B363}">
      <dsp:nvSpPr>
        <dsp:cNvPr id="0" name=""/>
        <dsp:cNvSpPr/>
      </dsp:nvSpPr>
      <dsp:spPr>
        <a:xfrm>
          <a:off x="1411732" y="4347296"/>
          <a:ext cx="9179827" cy="6846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vi-VN" sz="2000" kern="1200">
              <a:latin typeface="Times New Roman" panose="02020603050405020304" pitchFamily="18" charset="0"/>
            </a:rPr>
            <a:t>Tỷ lệ thí sinh </a:t>
          </a:r>
          <a:r>
            <a:rPr lang="da-DK" sz="2000" kern="1200">
              <a:latin typeface="Times New Roman" panose="02020603050405020304" pitchFamily="18" charset="0"/>
            </a:rPr>
            <a:t>đỗ tốt nghiệp</a:t>
          </a:r>
          <a:r>
            <a:rPr lang="vi-VN" sz="2000" kern="1200">
              <a:latin typeface="Times New Roman" panose="02020603050405020304" pitchFamily="18" charset="0"/>
            </a:rPr>
            <a:t> THPT năm 2023 tăng 0,36% so với cùng kỳ,</a:t>
          </a:r>
          <a:r>
            <a:rPr lang="da-DK" sz="2000" kern="1200">
              <a:latin typeface="Times New Roman" panose="02020603050405020304" pitchFamily="18" charset="0"/>
            </a:rPr>
            <a:t> </a:t>
          </a:r>
          <a:r>
            <a:rPr lang="vi-VN" sz="2000" kern="1200">
              <a:latin typeface="Times New Roman" panose="02020603050405020304" pitchFamily="18" charset="0"/>
            </a:rPr>
            <a:t>đạt</a:t>
          </a:r>
          <a:r>
            <a:rPr lang="da-DK" sz="2000" kern="1200">
              <a:latin typeface="Times New Roman" panose="02020603050405020304" pitchFamily="18" charset="0"/>
            </a:rPr>
            <a:t> tỷ lệ 98,79%</a:t>
          </a:r>
          <a:endParaRPr lang="en-US" sz="2000" kern="1200">
            <a:latin typeface="Times New Roman" panose="02020603050405020304" pitchFamily="18" charset="0"/>
            <a:cs typeface="Times New Roman" panose="02020603050405020304" pitchFamily="18" charset="0"/>
          </a:endParaRPr>
        </a:p>
      </dsp:txBody>
      <dsp:txXfrm>
        <a:off x="1411732" y="4347296"/>
        <a:ext cx="9179827" cy="684670"/>
      </dsp:txXfrm>
    </dsp:sp>
    <dsp:sp modelId="{40FA6F46-2BCD-4095-B251-8B468FFF4213}">
      <dsp:nvSpPr>
        <dsp:cNvPr id="0" name=""/>
        <dsp:cNvSpPr/>
      </dsp:nvSpPr>
      <dsp:spPr>
        <a:xfrm>
          <a:off x="0" y="4365078"/>
          <a:ext cx="1161553" cy="1038401"/>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5</a:t>
          </a:r>
        </a:p>
      </dsp:txBody>
      <dsp:txXfrm>
        <a:off x="50700" y="4415778"/>
        <a:ext cx="1060153" cy="9877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97454" y="509117"/>
          <a:ext cx="1316366" cy="92145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a:t>1</a:t>
          </a:r>
        </a:p>
      </dsp:txBody>
      <dsp:txXfrm rot="-5400000">
        <a:off x="1" y="772390"/>
        <a:ext cx="921456" cy="394910"/>
      </dsp:txXfrm>
    </dsp:sp>
    <dsp:sp modelId="{9770188F-3220-4119-9599-0FD33E998D96}">
      <dsp:nvSpPr>
        <dsp:cNvPr id="0" name=""/>
        <dsp:cNvSpPr/>
      </dsp:nvSpPr>
      <dsp:spPr>
        <a:xfrm rot="5400000">
          <a:off x="5417073" y="-4490716"/>
          <a:ext cx="1469611" cy="1046084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100000"/>
            </a:lnSpc>
            <a:spcBef>
              <a:spcPct val="0"/>
            </a:spcBef>
            <a:spcAft>
              <a:spcPts val="0"/>
            </a:spcAft>
            <a:buNone/>
          </a:pPr>
          <a:r>
            <a:rPr lang="it-IT" sz="2400" kern="1200">
              <a:solidFill>
                <a:prstClr val="black">
                  <a:hueOff val="0"/>
                  <a:satOff val="0"/>
                  <a:lumOff val="0"/>
                  <a:alphaOff val="0"/>
                </a:prstClr>
              </a:solidFill>
              <a:latin typeface="Times New Roman" panose="02020603050405020304" pitchFamily="18" charset="0"/>
              <a:ea typeface="+mn-ea"/>
              <a:cs typeface="+mn-cs"/>
            </a:rPr>
            <a:t>Hoạt động sản xuất, kinh doanh, sản xuất công nghiệp, xuất khẩu</a:t>
          </a:r>
          <a:r>
            <a:rPr lang="vi-VN" sz="2400" kern="1200">
              <a:solidFill>
                <a:prstClr val="black">
                  <a:hueOff val="0"/>
                  <a:satOff val="0"/>
                  <a:lumOff val="0"/>
                  <a:alphaOff val="0"/>
                </a:prstClr>
              </a:solidFill>
              <a:latin typeface="Times New Roman" panose="02020603050405020304" pitchFamily="18" charset="0"/>
              <a:ea typeface="+mn-ea"/>
              <a:cs typeface="+mn-cs"/>
            </a:rPr>
            <a:t>, thu ngân sách nhà nước</a:t>
          </a:r>
          <a:r>
            <a:rPr lang="it-IT" sz="2400" kern="1200">
              <a:solidFill>
                <a:prstClr val="black">
                  <a:hueOff val="0"/>
                  <a:satOff val="0"/>
                  <a:lumOff val="0"/>
                  <a:alphaOff val="0"/>
                </a:prstClr>
              </a:solidFill>
              <a:latin typeface="Times New Roman" panose="02020603050405020304" pitchFamily="18" charset="0"/>
              <a:ea typeface="+mn-ea"/>
              <a:cs typeface="+mn-cs"/>
            </a:rPr>
            <a:t>… gặp nhiều khó khăn. </a:t>
          </a:r>
          <a:r>
            <a:rPr lang="vi-VN" sz="2400" kern="1200">
              <a:solidFill>
                <a:prstClr val="black">
                  <a:hueOff val="0"/>
                  <a:satOff val="0"/>
                  <a:lumOff val="0"/>
                  <a:alphaOff val="0"/>
                </a:prstClr>
              </a:solidFill>
              <a:latin typeface="Times New Roman" panose="02020603050405020304" pitchFamily="18" charset="0"/>
              <a:ea typeface="+mn-ea"/>
              <a:cs typeface="+mn-cs"/>
            </a:rPr>
            <a:t>So với cùng kỳ, chỉ số sản xuất công nghiệp (IIP) chỉ tăng 0,36%; kim ngạch xuất khẩu giảm 13%; tổng thu ngân sách giảm 31% </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sp:txBody>
      <dsp:txXfrm rot="-5400000">
        <a:off x="921456" y="76641"/>
        <a:ext cx="10389105" cy="1326131"/>
      </dsp:txXfrm>
    </dsp:sp>
    <dsp:sp modelId="{89164601-E0A1-4038-AED2-754D77EF4C41}">
      <dsp:nvSpPr>
        <dsp:cNvPr id="0" name=""/>
        <dsp:cNvSpPr/>
      </dsp:nvSpPr>
      <dsp:spPr>
        <a:xfrm rot="5400000">
          <a:off x="-197454" y="1702438"/>
          <a:ext cx="1316366" cy="92145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a:t>2</a:t>
          </a:r>
        </a:p>
      </dsp:txBody>
      <dsp:txXfrm rot="-5400000">
        <a:off x="1" y="1965711"/>
        <a:ext cx="921456" cy="394910"/>
      </dsp:txXfrm>
    </dsp:sp>
    <dsp:sp modelId="{594D2AB4-91B5-4F18-9ACA-1D51E359B741}">
      <dsp:nvSpPr>
        <dsp:cNvPr id="0" name=""/>
        <dsp:cNvSpPr/>
      </dsp:nvSpPr>
      <dsp:spPr>
        <a:xfrm rot="5400000">
          <a:off x="5715644" y="-3297752"/>
          <a:ext cx="872468" cy="1046084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100000"/>
            </a:lnSpc>
            <a:spcBef>
              <a:spcPct val="0"/>
            </a:spcBef>
            <a:spcAft>
              <a:spcPts val="0"/>
            </a:spcAft>
            <a:buNone/>
          </a:pPr>
          <a:r>
            <a:rPr lang="vi-VN"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hị trường bất động sản trầm lắng, thu ngân sách từ nguồn thu tiền sử dụng đất gặp khó khăn</a:t>
          </a:r>
          <a:r>
            <a:rPr lang="en-U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ảnh hưởng lớn đến </a:t>
          </a:r>
          <a:r>
            <a:rPr lang="it-IT"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nhiệm vụ chi đầu tư phát triển</a:t>
          </a:r>
          <a:endParaRPr lang="en-US" sz="2400" kern="1200">
            <a:solidFill>
              <a:prstClr val="black">
                <a:hueOff val="0"/>
                <a:satOff val="0"/>
                <a:lumOff val="0"/>
                <a:alphaOff val="0"/>
              </a:prstClr>
            </a:solidFill>
            <a:latin typeface="Times New Roman" panose="02020603050405020304" pitchFamily="18" charset="0"/>
            <a:ea typeface="+mn-ea"/>
            <a:cs typeface="+mn-cs"/>
          </a:endParaRPr>
        </a:p>
      </dsp:txBody>
      <dsp:txXfrm rot="-5400000">
        <a:off x="921456" y="1539026"/>
        <a:ext cx="10418255" cy="787288"/>
      </dsp:txXfrm>
    </dsp:sp>
    <dsp:sp modelId="{3DA4DBDD-86BF-4DC6-9D99-05C1C1BFB383}">
      <dsp:nvSpPr>
        <dsp:cNvPr id="0" name=""/>
        <dsp:cNvSpPr/>
      </dsp:nvSpPr>
      <dsp:spPr>
        <a:xfrm rot="5400000">
          <a:off x="-186332" y="2795048"/>
          <a:ext cx="1316366" cy="92145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a:t>3</a:t>
          </a:r>
        </a:p>
      </dsp:txBody>
      <dsp:txXfrm rot="-5400000">
        <a:off x="11123" y="3058321"/>
        <a:ext cx="921456" cy="394910"/>
      </dsp:txXfrm>
    </dsp:sp>
    <dsp:sp modelId="{18D2B7CF-92DC-4C98-B7A8-681260E88B2C}">
      <dsp:nvSpPr>
        <dsp:cNvPr id="0" name=""/>
        <dsp:cNvSpPr/>
      </dsp:nvSpPr>
      <dsp:spPr>
        <a:xfrm rot="5400000">
          <a:off x="5698870" y="-2178143"/>
          <a:ext cx="906017" cy="1046084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90000"/>
            </a:lnSpc>
            <a:spcBef>
              <a:spcPct val="0"/>
            </a:spcBef>
            <a:spcAft>
              <a:spcPct val="15000"/>
            </a:spcAft>
            <a:buNone/>
          </a:pP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Việc thực hiện, giải ngân các Chương trình mục tiêu quốc gia còn nhiều vướng mắc, tỷ lệ giải ngân còn thấp</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dsp:txBody>
      <dsp:txXfrm rot="-5400000">
        <a:off x="921456" y="2643499"/>
        <a:ext cx="10416617" cy="817561"/>
      </dsp:txXfrm>
    </dsp:sp>
    <dsp:sp modelId="{407F228A-246B-4CD6-A008-1160CAEC445E}">
      <dsp:nvSpPr>
        <dsp:cNvPr id="0" name=""/>
        <dsp:cNvSpPr/>
      </dsp:nvSpPr>
      <dsp:spPr>
        <a:xfrm rot="5400000">
          <a:off x="-197454" y="4085750"/>
          <a:ext cx="1316366" cy="92145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7940" tIns="27940" rIns="27940" bIns="27940" numCol="1" spcCol="1270" anchor="ctr" anchorCtr="0">
          <a:noAutofit/>
        </a:bodyPr>
        <a:lstStyle/>
        <a:p>
          <a:pPr marL="119063" lvl="0" indent="0" algn="just" defTabSz="1955800">
            <a:lnSpc>
              <a:spcPct val="90000"/>
            </a:lnSpc>
            <a:spcBef>
              <a:spcPct val="0"/>
            </a:spcBef>
            <a:spcAft>
              <a:spcPct val="35000"/>
            </a:spcAft>
            <a:buNone/>
          </a:pPr>
          <a:r>
            <a:rPr lang="vi-VN" sz="4400" kern="1200">
              <a:solidFill>
                <a:schemeClr val="bg1"/>
              </a:solidFill>
              <a:latin typeface="Times New Roman" panose="02020603050405020304" pitchFamily="18" charset="0"/>
              <a:ea typeface="+mn-ea"/>
              <a:cs typeface="+mn-cs"/>
            </a:rPr>
            <a:t> 4</a:t>
          </a:r>
          <a:endParaRPr lang="en-US" sz="4400" kern="1200" dirty="0">
            <a:solidFill>
              <a:schemeClr val="bg1"/>
            </a:solidFill>
            <a:latin typeface="Times New Roman" panose="02020603050405020304" pitchFamily="18" charset="0"/>
            <a:ea typeface="+mn-ea"/>
            <a:cs typeface="+mn-cs"/>
          </a:endParaRPr>
        </a:p>
      </dsp:txBody>
      <dsp:txXfrm rot="-5400000">
        <a:off x="1" y="4349023"/>
        <a:ext cx="921456" cy="394910"/>
      </dsp:txXfrm>
    </dsp:sp>
    <dsp:sp modelId="{885D7DF9-BC4B-4F16-9F80-907A5E37F78C}">
      <dsp:nvSpPr>
        <dsp:cNvPr id="0" name=""/>
        <dsp:cNvSpPr/>
      </dsp:nvSpPr>
      <dsp:spPr>
        <a:xfrm rot="5400000">
          <a:off x="5724060" y="-914308"/>
          <a:ext cx="855637" cy="10460845"/>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90000"/>
            </a:lnSpc>
            <a:spcBef>
              <a:spcPct val="0"/>
            </a:spcBef>
            <a:spcAft>
              <a:spcPct val="15000"/>
            </a:spcAft>
            <a:buFontTx/>
            <a:buNone/>
          </a:pPr>
          <a:r>
            <a:rPr lang="it-IT" sz="2400" kern="1200">
              <a:solidFill>
                <a:prstClr val="black">
                  <a:hueOff val="0"/>
                  <a:satOff val="0"/>
                  <a:lumOff val="0"/>
                  <a:alphaOff val="0"/>
                </a:prstClr>
              </a:solidFill>
              <a:latin typeface="Times New Roman" panose="02020603050405020304" pitchFamily="18" charset="0"/>
              <a:ea typeface="+mn-ea"/>
              <a:cs typeface="+mn-cs"/>
            </a:rPr>
            <a:t>Công tác thu hút đầu tư nước ngoài chưa đạt như kỳ vọng mặc dù tỉnh đã tổ chức nhiều đợt xúc tiến đầu tư nước</a:t>
          </a:r>
          <a:r>
            <a:rPr lang="vi-VN" sz="2400" kern="1200">
              <a:solidFill>
                <a:prstClr val="black">
                  <a:hueOff val="0"/>
                  <a:satOff val="0"/>
                  <a:lumOff val="0"/>
                  <a:alphaOff val="0"/>
                </a:prstClr>
              </a:solidFill>
              <a:latin typeface="Times New Roman" panose="02020603050405020304" pitchFamily="18" charset="0"/>
              <a:ea typeface="+mn-ea"/>
              <a:cs typeface="+mn-cs"/>
            </a:rPr>
            <a:t> ngoài</a:t>
          </a:r>
          <a:r>
            <a:rPr lang="it-IT" sz="2400" kern="1200">
              <a:solidFill>
                <a:prstClr val="black">
                  <a:hueOff val="0"/>
                  <a:satOff val="0"/>
                  <a:lumOff val="0"/>
                  <a:alphaOff val="0"/>
                </a:prstClr>
              </a:solidFill>
              <a:latin typeface="Times New Roman" panose="02020603050405020304" pitchFamily="18" charset="0"/>
              <a:ea typeface="+mn-ea"/>
              <a:cs typeface="+mn-cs"/>
            </a:rPr>
            <a:t> </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dsp:txBody>
      <dsp:txXfrm rot="-5400000">
        <a:off x="921457" y="3930064"/>
        <a:ext cx="10419076" cy="7720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38034" y="245706"/>
          <a:ext cx="1586894" cy="111082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1</a:t>
          </a:r>
        </a:p>
      </dsp:txBody>
      <dsp:txXfrm rot="-5400000">
        <a:off x="0" y="563085"/>
        <a:ext cx="1110826" cy="476068"/>
      </dsp:txXfrm>
    </dsp:sp>
    <dsp:sp modelId="{9770188F-3220-4119-9599-0FD33E998D96}">
      <dsp:nvSpPr>
        <dsp:cNvPr id="0" name=""/>
        <dsp:cNvSpPr/>
      </dsp:nvSpPr>
      <dsp:spPr>
        <a:xfrm rot="5400000">
          <a:off x="5713364" y="-4594865"/>
          <a:ext cx="1031481" cy="10236558"/>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nl-NL" sz="2400" kern="1200">
              <a:latin typeface="Times New Roman" panose="02020603050405020304" pitchFamily="18" charset="0"/>
              <a:cs typeface="Times New Roman" panose="02020603050405020304" pitchFamily="18" charset="0"/>
            </a:rPr>
            <a:t>Tập trung chỉ đạo sản xuất vụ Hè Thu và vụ Mùa theo kế hoạch. </a:t>
          </a:r>
          <a:r>
            <a:rPr lang="nb-NO" sz="2400" kern="1200">
              <a:latin typeface="Times New Roman" panose="02020603050405020304" pitchFamily="18" charset="0"/>
              <a:cs typeface="Times New Roman" panose="02020603050405020304" pitchFamily="18" charset="0"/>
            </a:rPr>
            <a:t>Tiếp tục xây dựng </a:t>
          </a:r>
          <a:r>
            <a:rPr lang="nl-NL" sz="2400" kern="1200">
              <a:latin typeface="Times New Roman" panose="02020603050405020304" pitchFamily="18" charset="0"/>
              <a:cs typeface="Times New Roman" panose="02020603050405020304" pitchFamily="18" charset="0"/>
            </a:rPr>
            <a:t>Đề án phát triển cây trồng chủ lực và cây ăn quả tỉnh Bình Định đến năm 2025, định hướng đến năm 2030 theo kế hoạch</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10826" y="58026"/>
        <a:ext cx="10186205" cy="930775"/>
      </dsp:txXfrm>
    </dsp:sp>
    <dsp:sp modelId="{89164601-E0A1-4038-AED2-754D77EF4C41}">
      <dsp:nvSpPr>
        <dsp:cNvPr id="0" name=""/>
        <dsp:cNvSpPr/>
      </dsp:nvSpPr>
      <dsp:spPr>
        <a:xfrm rot="5400000">
          <a:off x="-238034" y="1691234"/>
          <a:ext cx="1586894" cy="111082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2</a:t>
          </a:r>
        </a:p>
      </dsp:txBody>
      <dsp:txXfrm rot="-5400000">
        <a:off x="0" y="2008613"/>
        <a:ext cx="1110826" cy="476068"/>
      </dsp:txXfrm>
    </dsp:sp>
    <dsp:sp modelId="{594D2AB4-91B5-4F18-9ACA-1D51E359B741}">
      <dsp:nvSpPr>
        <dsp:cNvPr id="0" name=""/>
        <dsp:cNvSpPr/>
      </dsp:nvSpPr>
      <dsp:spPr>
        <a:xfrm rot="5400000">
          <a:off x="5795610" y="-3149338"/>
          <a:ext cx="866991" cy="10236558"/>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ập trung chuẩn bị làm việc với Đoàn Thanh tra của Ủy ban Châu Âu lần thứ 4 </a:t>
          </a:r>
          <a:r>
            <a:rPr lang="en-US"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ề chống khai thác thủy sản bất hợp pháp, không báo cáo theo quy định (IUU)</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10827" y="1577768"/>
        <a:ext cx="10194235" cy="782345"/>
      </dsp:txXfrm>
    </dsp:sp>
    <dsp:sp modelId="{3DA4DBDD-86BF-4DC6-9D99-05C1C1BFB383}">
      <dsp:nvSpPr>
        <dsp:cNvPr id="0" name=""/>
        <dsp:cNvSpPr/>
      </dsp:nvSpPr>
      <dsp:spPr>
        <a:xfrm rot="5400000">
          <a:off x="-238034" y="3161212"/>
          <a:ext cx="1586894" cy="111082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3</a:t>
          </a:r>
        </a:p>
      </dsp:txBody>
      <dsp:txXfrm rot="-5400000">
        <a:off x="0" y="3478591"/>
        <a:ext cx="1110826" cy="476068"/>
      </dsp:txXfrm>
    </dsp:sp>
    <dsp:sp modelId="{18D2B7CF-92DC-4C98-B7A8-681260E88B2C}">
      <dsp:nvSpPr>
        <dsp:cNvPr id="0" name=""/>
        <dsp:cNvSpPr/>
      </dsp:nvSpPr>
      <dsp:spPr>
        <a:xfrm rot="5400000">
          <a:off x="5688913" y="-1679359"/>
          <a:ext cx="1080383" cy="10236558"/>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latin typeface="Times New Roman" panose="02020603050405020304" pitchFamily="18" charset="0"/>
              <a:cs typeface="Times New Roman" panose="02020603050405020304" pitchFamily="18" charset="0"/>
            </a:rPr>
            <a:t>Triển khai </a:t>
          </a:r>
          <a:r>
            <a:rPr lang="vi-VN" sz="2400" kern="1200">
              <a:latin typeface="Times New Roman" panose="02020603050405020304" pitchFamily="18" charset="0"/>
              <a:cs typeface="Times New Roman" panose="02020603050405020304" pitchFamily="18" charset="0"/>
            </a:rPr>
            <a:t>hiệu quả các</a:t>
          </a:r>
          <a:r>
            <a:rPr lang="it-IT" sz="2400" kern="1200">
              <a:latin typeface="Times New Roman" panose="02020603050405020304" pitchFamily="18" charset="0"/>
              <a:cs typeface="Times New Roman" panose="02020603050405020304" pitchFamily="18" charset="0"/>
            </a:rPr>
            <a:t> phương án xử lý vấn đề môi trường. Tăng cường công tác kiểm tra, quản lý chống lấn chiếm đất đai, khai thác tài nguyên khoáng sản. </a:t>
          </a:r>
          <a:r>
            <a:rPr lang="vi-VN" sz="2400" kern="1200">
              <a:latin typeface="Times New Roman" panose="02020603050405020304" pitchFamily="18" charset="0"/>
              <a:cs typeface="Times New Roman" panose="02020603050405020304" pitchFamily="18" charset="0"/>
            </a:rPr>
            <a:t>X</a:t>
          </a:r>
          <a:r>
            <a:rPr lang="it-IT" sz="2400" kern="1200">
              <a:latin typeface="Times New Roman" panose="02020603050405020304" pitchFamily="18" charset="0"/>
              <a:cs typeface="Times New Roman" panose="02020603050405020304" pitchFamily="18" charset="0"/>
            </a:rPr>
            <a:t>ây dựng Kế hoạch phòng chống thiên tai, tìm kiếm cứu nạn năm 2023</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10826" y="2951468"/>
        <a:ext cx="10183818" cy="974903"/>
      </dsp:txXfrm>
    </dsp:sp>
    <dsp:sp modelId="{62D4FF5F-BB58-4DAC-9260-24E1A247C3C5}">
      <dsp:nvSpPr>
        <dsp:cNvPr id="0" name=""/>
        <dsp:cNvSpPr/>
      </dsp:nvSpPr>
      <dsp:spPr>
        <a:xfrm rot="5400000">
          <a:off x="-238034" y="4664331"/>
          <a:ext cx="1586894" cy="111082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3100" kern="1200" dirty="0"/>
            <a:t>4</a:t>
          </a:r>
        </a:p>
      </dsp:txBody>
      <dsp:txXfrm rot="-5400000">
        <a:off x="0" y="4981710"/>
        <a:ext cx="1110826" cy="476068"/>
      </dsp:txXfrm>
    </dsp:sp>
    <dsp:sp modelId="{46F44EEA-00FF-478B-BA4D-FAA533FBEC40}">
      <dsp:nvSpPr>
        <dsp:cNvPr id="0" name=""/>
        <dsp:cNvSpPr/>
      </dsp:nvSpPr>
      <dsp:spPr>
        <a:xfrm rot="5400000">
          <a:off x="5633043" y="-104727"/>
          <a:ext cx="1131318" cy="1017432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latin typeface="Times New Roman" panose="02020603050405020304" pitchFamily="18" charset="0"/>
              <a:cs typeface="Times New Roman" panose="02020603050405020304" pitchFamily="18" charset="0"/>
            </a:rPr>
            <a:t>Tập trung triển khai quyết liệt, đồng bộ các giải pháp hỗ trợ phát triển sản xuất, kinh doanh; thúc đẩy hoạt động xuất khẩu. Kịp thời theo dõi, nắm bắt tình hình, tháo gỡ khó khăn cho doanh nghiệp</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11542" y="4472000"/>
        <a:ext cx="10119094" cy="1020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79016" y="614522"/>
          <a:ext cx="1860108" cy="130207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a:t>5</a:t>
          </a:r>
          <a:endParaRPr lang="en-US" sz="3600" kern="1200" dirty="0"/>
        </a:p>
      </dsp:txBody>
      <dsp:txXfrm rot="-5400000">
        <a:off x="0" y="986544"/>
        <a:ext cx="1302076" cy="558032"/>
      </dsp:txXfrm>
    </dsp:sp>
    <dsp:sp modelId="{9770188F-3220-4119-9599-0FD33E998D96}">
      <dsp:nvSpPr>
        <dsp:cNvPr id="0" name=""/>
        <dsp:cNvSpPr/>
      </dsp:nvSpPr>
      <dsp:spPr>
        <a:xfrm rot="5400000">
          <a:off x="5311062" y="-4001979"/>
          <a:ext cx="1866067" cy="988404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phát triển các hoạt động thương mại, dịch vụ và du lịch; tăng cường hỗ trợ tìm kiếm đơn hàng xuất khẩu, nhất là các mặt hàng chủ lực của tỉnh và các mặt hàng đang có thị trường tiêu thụ. Tăng cường tuyên truyền, quảng bá và xúc tiến đầu tư về du lịch</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302076" y="98101"/>
        <a:ext cx="9792946" cy="1683879"/>
      </dsp:txXfrm>
    </dsp:sp>
    <dsp:sp modelId="{89164601-E0A1-4038-AED2-754D77EF4C41}">
      <dsp:nvSpPr>
        <dsp:cNvPr id="0" name=""/>
        <dsp:cNvSpPr/>
      </dsp:nvSpPr>
      <dsp:spPr>
        <a:xfrm rot="5400000">
          <a:off x="-279016" y="2613636"/>
          <a:ext cx="1860108" cy="130207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a:t>6</a:t>
          </a:r>
          <a:endParaRPr lang="en-US" sz="3600" kern="1200" dirty="0"/>
        </a:p>
      </dsp:txBody>
      <dsp:txXfrm rot="-5400000">
        <a:off x="0" y="2985658"/>
        <a:ext cx="1302076" cy="558032"/>
      </dsp:txXfrm>
    </dsp:sp>
    <dsp:sp modelId="{594D2AB4-91B5-4F18-9ACA-1D51E359B741}">
      <dsp:nvSpPr>
        <dsp:cNvPr id="0" name=""/>
        <dsp:cNvSpPr/>
      </dsp:nvSpPr>
      <dsp:spPr>
        <a:xfrm rot="5400000">
          <a:off x="5337239" y="-2002865"/>
          <a:ext cx="1813714" cy="988404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FontTx/>
            <a:buNone/>
          </a:pPr>
          <a:r>
            <a:rPr lang="it-IT" sz="2400" kern="1200">
              <a:latin typeface="Times New Roman" panose="02020603050405020304" pitchFamily="18" charset="0"/>
              <a:cs typeface="Times New Roman" panose="02020603050405020304" pitchFamily="18" charset="0"/>
            </a:rPr>
            <a:t>Đẩy mạnh các biện pháp chống thất thu thuế, nhất là thu nội địa để đảm bảo nhu cầu chi theo kế hoạch. Triển khai thực hiện kịp thời việc thu tiền sử dụng đất và tiền thuê đất năm 2023 theo kế hoạch. </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302076" y="2120836"/>
        <a:ext cx="9795502" cy="1636638"/>
      </dsp:txXfrm>
    </dsp:sp>
    <dsp:sp modelId="{3DA4DBDD-86BF-4DC6-9D99-05C1C1BFB383}">
      <dsp:nvSpPr>
        <dsp:cNvPr id="0" name=""/>
        <dsp:cNvSpPr/>
      </dsp:nvSpPr>
      <dsp:spPr>
        <a:xfrm rot="5400000">
          <a:off x="-279016" y="4513062"/>
          <a:ext cx="1860108" cy="130207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a:t>7</a:t>
          </a:r>
          <a:endParaRPr lang="en-US" sz="3600" kern="1200" dirty="0"/>
        </a:p>
      </dsp:txBody>
      <dsp:txXfrm rot="-5400000">
        <a:off x="0" y="4885084"/>
        <a:ext cx="1302076" cy="558032"/>
      </dsp:txXfrm>
    </dsp:sp>
    <dsp:sp modelId="{18D2B7CF-92DC-4C98-B7A8-681260E88B2C}">
      <dsp:nvSpPr>
        <dsp:cNvPr id="0" name=""/>
        <dsp:cNvSpPr/>
      </dsp:nvSpPr>
      <dsp:spPr>
        <a:xfrm rot="5400000">
          <a:off x="5436927" y="-79717"/>
          <a:ext cx="1614338" cy="983659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triển khai hiệu quả 03 Chương trình mục tiêu quốc gia. Các tổ công tác kiểm tra, đôn đốc giải ngân vốn đầu tư công khẩn trương triển khai thực hiện nhiệm vụ. Kiên quyết điều hòa vốn đầu tư công từ Chủ đầu tư chưa thực hiện được sang Chủ đầu tư có nhu cầu bổ sung vốn</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325798" y="4110217"/>
        <a:ext cx="9757792" cy="14567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77954" y="328884"/>
          <a:ext cx="1853028" cy="129712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a:t>8</a:t>
          </a:r>
          <a:endParaRPr lang="en-US" sz="3600" kern="1200" dirty="0"/>
        </a:p>
      </dsp:txBody>
      <dsp:txXfrm rot="-5400000">
        <a:off x="0" y="699490"/>
        <a:ext cx="1297120" cy="555908"/>
      </dsp:txXfrm>
    </dsp:sp>
    <dsp:sp modelId="{9770188F-3220-4119-9599-0FD33E998D96}">
      <dsp:nvSpPr>
        <dsp:cNvPr id="0" name=""/>
        <dsp:cNvSpPr/>
      </dsp:nvSpPr>
      <dsp:spPr>
        <a:xfrm rot="5400000">
          <a:off x="5449790" y="-4148130"/>
          <a:ext cx="1297248" cy="9602589"/>
        </a:xfrm>
        <a:prstGeom prst="round2SameRect">
          <a:avLst/>
        </a:prstGeom>
        <a:solidFill>
          <a:srgbClr val="ED7D31">
            <a:lumMod val="20000"/>
            <a:lumOff val="80000"/>
            <a:alpha val="90000"/>
          </a:srgb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FontTx/>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Nâng cao chất lượng hoạt động trên các lĩnh vực văn hóa - xã hội. Tập trung hoàn thành việc tuyển sinh, chuẩn bị cơ sở vật chất cho năm học 2023- 2024. Thực hiện tốt công tác bảo trợ xã hội, chính sách đối với người có công, công tác bảo vệ chăm sóc trẻ em...</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297120" y="67866"/>
        <a:ext cx="9539263" cy="1170596"/>
      </dsp:txXfrm>
    </dsp:sp>
    <dsp:sp modelId="{9C927D3F-96DD-4899-B770-A6D5097F5583}">
      <dsp:nvSpPr>
        <dsp:cNvPr id="0" name=""/>
        <dsp:cNvSpPr/>
      </dsp:nvSpPr>
      <dsp:spPr>
        <a:xfrm rot="5400000">
          <a:off x="-277954" y="1995078"/>
          <a:ext cx="1853028" cy="129712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a:t>9</a:t>
          </a:r>
          <a:endParaRPr lang="en-US" sz="3600" kern="1200" dirty="0"/>
        </a:p>
      </dsp:txBody>
      <dsp:txXfrm rot="-5400000">
        <a:off x="0" y="2365684"/>
        <a:ext cx="1297120" cy="555908"/>
      </dsp:txXfrm>
    </dsp:sp>
    <dsp:sp modelId="{E7C2546B-48AF-49F2-98C9-BBDBC1222DA4}">
      <dsp:nvSpPr>
        <dsp:cNvPr id="0" name=""/>
        <dsp:cNvSpPr/>
      </dsp:nvSpPr>
      <dsp:spPr>
        <a:xfrm rot="5400000">
          <a:off x="5496180" y="-2481935"/>
          <a:ext cx="1204468" cy="9602589"/>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FontTx/>
            <a:buNone/>
          </a:pPr>
          <a:r>
            <a:rPr lang="it-IT" sz="2400" kern="1200">
              <a:latin typeface="Times New Roman" panose="02020603050405020304" pitchFamily="18" charset="0"/>
              <a:cs typeface="Times New Roman" panose="02020603050405020304" pitchFamily="18" charset="0"/>
            </a:rPr>
            <a:t>Nâng cao chất lượng, hiệu quả hoạt động của hệ thống chính quyền các cấp, trách nhiệm của người đứng đầu các cơ quan, đơn vị. Đẩy mạnh công tác cải cách hành chính, nhất là cải cách thủ tục hành chính</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297120" y="1775922"/>
        <a:ext cx="9543792" cy="1086874"/>
      </dsp:txXfrm>
    </dsp:sp>
    <dsp:sp modelId="{3DA4DBDD-86BF-4DC6-9D99-05C1C1BFB383}">
      <dsp:nvSpPr>
        <dsp:cNvPr id="0" name=""/>
        <dsp:cNvSpPr/>
      </dsp:nvSpPr>
      <dsp:spPr>
        <a:xfrm rot="5400000">
          <a:off x="-277954" y="3733270"/>
          <a:ext cx="1853028" cy="129712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a:t>10</a:t>
          </a:r>
          <a:endParaRPr lang="en-US" sz="3600" kern="1200" dirty="0"/>
        </a:p>
      </dsp:txBody>
      <dsp:txXfrm rot="-5400000">
        <a:off x="0" y="4103876"/>
        <a:ext cx="1297120" cy="555908"/>
      </dsp:txXfrm>
    </dsp:sp>
    <dsp:sp modelId="{18D2B7CF-92DC-4C98-B7A8-681260E88B2C}">
      <dsp:nvSpPr>
        <dsp:cNvPr id="0" name=""/>
        <dsp:cNvSpPr/>
      </dsp:nvSpPr>
      <dsp:spPr>
        <a:xfrm rot="5400000">
          <a:off x="5424183" y="-720698"/>
          <a:ext cx="1348462" cy="955649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None/>
          </a:pPr>
          <a:r>
            <a:rPr lang="it-IT" sz="2400" kern="1200">
              <a:latin typeface="Times New Roman" panose="02020603050405020304" pitchFamily="18" charset="0"/>
              <a:cs typeface="Times New Roman" panose="02020603050405020304" pitchFamily="18" charset="0"/>
            </a:rPr>
            <a:t>Tăng cường công tác quốc phòng - an ninh, bảo đảm trật tự an toàn xã hội; tiếp tục triển khai nhiệm vụ quân sự, nhất là diễn tập khu vực phòng thủ tỉnh năm 2023. Thực hiện kịp thời, hiệu quả các nhiệm vụ theo Đề án 06 của Chính phủ</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320166" y="3449145"/>
        <a:ext cx="9490671" cy="1216810"/>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7/26/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7/26/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y hoạch tổng thể quốc gia thời kỳ 2021 - 2030, tầm nhìn đến năm 2050 đã được Quốc hội thông qua tại Nghị quyết số 81/2023/QH15 ngày 9/1/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latin typeface="Times New Roman" panose="02020603050405020304" pitchFamily="18" charset="0"/>
                <a:cs typeface="Times New Roman" panose="02020603050405020304" pitchFamily="18" charset="0"/>
              </a:rPr>
              <a:t>Bộ Chính trị đã ban hành Nghị quyết số 26-NQ/TW ngày 3/11/2022 về phát triển kinh tế - xã hội và bảo đảm quốc phòng, an ninh V</a:t>
            </a:r>
            <a:r>
              <a:rPr lang="vi-VN" sz="1200" b="0" i="0" kern="1200">
                <a:latin typeface="Times New Roman" panose="02020603050405020304" pitchFamily="18" charset="0"/>
                <a:cs typeface="Times New Roman" panose="02020603050405020304" pitchFamily="18" charset="0"/>
              </a:rPr>
              <a:t>ùng Bắc Trung Bộ và Duyên hải Trung B</a:t>
            </a:r>
            <a:r>
              <a:rPr lang="en-US" sz="1200" b="0" i="0" kern="1200">
                <a:latin typeface="Times New Roman" panose="02020603050405020304" pitchFamily="18" charset="0"/>
                <a:cs typeface="Times New Roman" panose="02020603050405020304" pitchFamily="18" charset="0"/>
              </a:rPr>
              <a:t>ộ</a:t>
            </a:r>
            <a:endParaRPr lang="en-US"/>
          </a:p>
        </p:txBody>
      </p:sp>
      <p:sp>
        <p:nvSpPr>
          <p:cNvPr id="4" name="Slide Number Placeholder 3"/>
          <p:cNvSpPr>
            <a:spLocks noGrp="1"/>
          </p:cNvSpPr>
          <p:nvPr>
            <p:ph type="sldNum" sz="quarter" idx="10"/>
          </p:nvPr>
        </p:nvSpPr>
        <p:spPr/>
        <p:txBody>
          <a:bodyPr/>
          <a:lstStyle/>
          <a:p>
            <a:fld id="{50164B4F-905B-4F99-A1EB-C2D9E4133D57}" type="slidenum">
              <a:rPr lang="vi-VN" smtClean="0"/>
              <a:t>32</a:t>
            </a:fld>
            <a:endParaRPr lang="vi-VN"/>
          </a:p>
        </p:txBody>
      </p:sp>
    </p:spTree>
    <p:extLst>
      <p:ext uri="{BB962C8B-B14F-4D97-AF65-F5344CB8AC3E}">
        <p14:creationId xmlns:p14="http://schemas.microsoft.com/office/powerpoint/2010/main" val="3860589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5778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9077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457200" marR="0" lvl="0" indent="-298450" algn="just" defTabSz="914400" rtl="0" eaLnBrk="1" fontAlgn="auto" latinLnBrk="0" hangingPunct="1">
              <a:lnSpc>
                <a:spcPct val="150000"/>
              </a:lnSpc>
              <a:spcBef>
                <a:spcPts val="200"/>
              </a:spcBef>
              <a:spcAft>
                <a:spcPts val="200"/>
              </a:spcAft>
              <a:buClr>
                <a:srgbClr val="000000"/>
              </a:buClr>
              <a:buSzPts val="1100"/>
              <a:buFont typeface="Arial"/>
              <a:buChar char="●"/>
              <a:tabLst/>
              <a:defRPr/>
            </a:pPr>
            <a:r>
              <a:rPr lang="de-DE" sz="1200" b="1" i="0" dirty="0">
                <a:effectLst/>
                <a:latin typeface="Times New Roman" panose="02020603050405020304" pitchFamily="18" charset="0"/>
                <a:ea typeface="Times New Roman" panose="02020603050405020304" pitchFamily="18" charset="0"/>
                <a:cs typeface="Times New Roman" panose="02020603050405020304" pitchFamily="18" charset="0"/>
              </a:rPr>
              <a:t>Tổng vốn đầu tư nước ngoài </a:t>
            </a:r>
            <a:r>
              <a:rPr lang="de-DE" sz="1200" i="0" dirty="0">
                <a:effectLst/>
                <a:latin typeface="Times New Roman" panose="02020603050405020304" pitchFamily="18" charset="0"/>
                <a:ea typeface="Times New Roman" panose="02020603050405020304" pitchFamily="18" charset="0"/>
                <a:cs typeface="Times New Roman" panose="02020603050405020304" pitchFamily="18" charset="0"/>
              </a:rPr>
              <a:t>đăng ký vào Việt Nam</a:t>
            </a:r>
            <a:r>
              <a:rPr lang="vi-VN" sz="1200" i="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ính đến ngày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0/12/2022</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bao gồm: Vốn đăng ký cấp mới, vốn đăng ký điều chỉnh và giá trị góp vốn, mua cổ phần của nhà đầu tư nước ngoài đạ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7,72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tỷ 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 11%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a:t>
            </a:r>
            <a:r>
              <a:rPr lang="vi-VN" sz="1200" dirty="0">
                <a:effectLst/>
                <a:latin typeface="Times New Roman" panose="02020603050405020304" pitchFamily="18" charset="0"/>
                <a:ea typeface="Times New Roman" panose="02020603050405020304" pitchFamily="18" charset="0"/>
                <a:cs typeface="Times New Roman" panose="02020603050405020304" pitchFamily="18" charset="0"/>
              </a:rPr>
              <a:t> Cụ thể:</a:t>
            </a: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cấp mới có hơn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2 </a:t>
            </a:r>
            <a:r>
              <a:rPr lang="de-DE" sz="1200" b="0" spc="-20" dirty="0">
                <a:effectLst/>
                <a:latin typeface="Times New Roman" panose="02020603050405020304" pitchFamily="18" charset="0"/>
                <a:ea typeface="Times New Roman" panose="02020603050405020304" pitchFamily="18" charset="0"/>
                <a:cs typeface="Times New Roman" panose="02020603050405020304" pitchFamily="18" charset="0"/>
              </a:rPr>
              <a:t>nghìn</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dự án được cấp phép với số vốn đăng ký đạt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12,45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tỷ USD,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tăng 17,1%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về số dự án và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giảm 18,4%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về số vốn đăng ký so với năm trước;</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điều chỉnh có hơ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ghì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lượt dự án đã cấp phép từ các năm trước đăng ký điều chỉnh vốn đầu tư tăng thêm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0,12 tỷ 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12,2%</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góp vốn, mua cổ phần của nhà đầu tư nước ngoài có </a:t>
            </a:r>
            <a:r>
              <a:rPr lang="en-US" sz="1200" dirty="0" err="1">
                <a:effectLst/>
                <a:latin typeface="Times New Roman" panose="02020603050405020304" pitchFamily="18" charset="0"/>
                <a:ea typeface="Times New Roman" panose="02020603050405020304" pitchFamily="18" charset="0"/>
                <a:cs typeface="Times New Roman" panose="02020603050405020304" pitchFamily="18" charset="0"/>
              </a:rPr>
              <a:t>gần</a:t>
            </a:r>
            <a:r>
              <a:rPr lang="en-US"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3</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6</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vi-VN" sz="1200" b="0" dirty="0">
                <a:effectLst/>
                <a:latin typeface="Times New Roman" panose="02020603050405020304" pitchFamily="18" charset="0"/>
                <a:ea typeface="Times New Roman" panose="02020603050405020304" pitchFamily="18" charset="0"/>
                <a:cs typeface="Times New Roman" panose="02020603050405020304" pitchFamily="18" charset="0"/>
              </a:rPr>
              <a:t>nghìn lượt</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ới tổng giá trị góp vố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5,15 tỷ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 25,2%</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492591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7/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7/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7/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7/2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7/2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7/2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7/26/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7/26/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7/26/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7/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7/26/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7/26/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7/26/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7/2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7/26/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1404166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7/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7/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7/2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7/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7/2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7/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7/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7/2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7/26/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7" r:id="rId14"/>
    <p:sldLayoutId id="2147483938" r:id="rId15"/>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27.emf"/><Relationship Id="rId4" Type="http://schemas.openxmlformats.org/officeDocument/2006/relationships/image" Target="../media/image26.jpg"/></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package" Target="../embeddings/Microsoft_Excel_Worksheet3.xlsx"/><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image" Target="../media/image35.emf"/></Relationships>
</file>

<file path=ppt/slides/_rels/slide2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package" Target="../embeddings/Microsoft_Excel_Worksheet5.xlsx"/><Relationship Id="rId1" Type="http://schemas.openxmlformats.org/officeDocument/2006/relationships/slideLayout" Target="../slideLayouts/slideLayout25.xml"/><Relationship Id="rId5" Type="http://schemas.openxmlformats.org/officeDocument/2006/relationships/image" Target="../media/image37.emf"/><Relationship Id="rId4" Type="http://schemas.openxmlformats.org/officeDocument/2006/relationships/package" Target="../embeddings/Microsoft_Excel_Worksheet6.xlsx"/></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chart" Target="../charts/chart2.xml"/><Relationship Id="rId1" Type="http://schemas.openxmlformats.org/officeDocument/2006/relationships/slideLayout" Target="../slideLayouts/slideLayout25.xml"/><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oleObject" Target="../embeddings/oleObject4.bin"/><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41.jp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42.jpg"/><Relationship Id="rId5" Type="http://schemas.openxmlformats.org/officeDocument/2006/relationships/image" Target="../media/image6.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6.xml"/><Relationship Id="rId1" Type="http://schemas.openxmlformats.org/officeDocument/2006/relationships/tags" Target="../tags/tag8.xml"/><Relationship Id="rId6" Type="http://schemas.openxmlformats.org/officeDocument/2006/relationships/image" Target="../media/image42.jpg"/><Relationship Id="rId5" Type="http://schemas.openxmlformats.org/officeDocument/2006/relationships/image" Target="../media/image6.emf"/><Relationship Id="rId4" Type="http://schemas.openxmlformats.org/officeDocument/2006/relationships/oleObject" Target="../embeddings/oleObject6.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5.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0" y="0"/>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dirty="0">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40482" y="3046616"/>
            <a:ext cx="8934275" cy="954107"/>
          </a:xfrm>
          <a:prstGeom prst="rect">
            <a:avLst/>
          </a:prstGeom>
        </p:spPr>
        <p:txBody>
          <a:bodyPr wrap="square">
            <a:spAutoFit/>
          </a:bodyPr>
          <a:lstStyle/>
          <a:p>
            <a:pPr algn="ctr"/>
            <a:r>
              <a:rPr lang="vi-VN" sz="2800" b="1">
                <a:solidFill>
                  <a:schemeClr val="bg1"/>
                </a:solidFill>
                <a:latin typeface="Times New Roman" panose="02020603050405020304" pitchFamily="18" charset="0"/>
                <a:cs typeface="Times New Roman" panose="02020603050405020304" pitchFamily="18" charset="0"/>
              </a:rPr>
              <a:t>TÌNH </a:t>
            </a:r>
            <a:r>
              <a:rPr lang="vi-VN" sz="2800" b="1" dirty="0">
                <a:solidFill>
                  <a:schemeClr val="bg1"/>
                </a:solidFill>
                <a:latin typeface="Times New Roman" panose="02020603050405020304" pitchFamily="18" charset="0"/>
                <a:cs typeface="Times New Roman" panose="02020603050405020304" pitchFamily="18" charset="0"/>
              </a:rPr>
              <a:t>HÌNH KINH TẾ-XÃ </a:t>
            </a:r>
            <a:r>
              <a:rPr lang="vi-VN" sz="2800" b="1">
                <a:solidFill>
                  <a:schemeClr val="bg1"/>
                </a:solidFill>
                <a:latin typeface="Times New Roman" panose="02020603050405020304" pitchFamily="18" charset="0"/>
                <a:cs typeface="Times New Roman" panose="02020603050405020304" pitchFamily="18" charset="0"/>
              </a:rPr>
              <a:t>HỘI THÁNG 7</a:t>
            </a:r>
            <a:endParaRPr lang="vi-VN" sz="2800" b="1" dirty="0">
              <a:solidFill>
                <a:schemeClr val="bg1"/>
              </a:solidFill>
              <a:latin typeface="Times New Roman" panose="02020603050405020304" pitchFamily="18" charset="0"/>
              <a:cs typeface="Times New Roman" panose="02020603050405020304" pitchFamily="18" charset="0"/>
            </a:endParaRPr>
          </a:p>
          <a:p>
            <a:pPr algn="ctr"/>
            <a:r>
              <a:rPr lang="vi-VN" sz="2800" b="1" dirty="0">
                <a:solidFill>
                  <a:schemeClr val="bg1"/>
                </a:solidFill>
                <a:latin typeface="Times New Roman" panose="02020603050405020304" pitchFamily="18" charset="0"/>
                <a:cs typeface="Times New Roman" panose="02020603050405020304" pitchFamily="18" charset="0"/>
              </a:rPr>
              <a:t>VÀ NHIỆM VỤ TRỌNG </a:t>
            </a:r>
            <a:r>
              <a:rPr lang="vi-VN" sz="2800" b="1">
                <a:solidFill>
                  <a:schemeClr val="bg1"/>
                </a:solidFill>
                <a:latin typeface="Times New Roman" panose="02020603050405020304" pitchFamily="18" charset="0"/>
                <a:cs typeface="Times New Roman" panose="02020603050405020304" pitchFamily="18" charset="0"/>
              </a:rPr>
              <a:t>TÂM THÁNG 8 NĂM </a:t>
            </a:r>
            <a:r>
              <a:rPr lang="vi-VN" sz="2800" b="1" dirty="0">
                <a:solidFill>
                  <a:schemeClr val="bg1"/>
                </a:solidFill>
                <a:latin typeface="Times New Roman" panose="02020603050405020304" pitchFamily="18" charset="0"/>
                <a:cs typeface="Times New Roman" panose="02020603050405020304" pitchFamily="18" charset="0"/>
              </a:rPr>
              <a:t>2023</a:t>
            </a: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560809" y="268856"/>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122283273"/>
              </p:ext>
            </p:extLst>
          </p:nvPr>
        </p:nvGraphicFramePr>
        <p:xfrm>
          <a:off x="375965" y="1297590"/>
          <a:ext cx="6746288" cy="4724400"/>
        </p:xfrm>
        <a:graphic>
          <a:graphicData uri="http://schemas.openxmlformats.org/drawingml/2006/table">
            <a:tbl>
              <a:tblPr firstRow="1" bandRow="1"/>
              <a:tblGrid>
                <a:gridCol w="674628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a:solidFill>
                            <a:schemeClr val="dk1"/>
                          </a:solidFill>
                          <a:effectLst/>
                          <a:latin typeface="Times New Roman" panose="02020603050405020304" pitchFamily="18" charset="0"/>
                          <a:ea typeface="+mn-ea"/>
                          <a:cs typeface="Times New Roman" panose="02020603050405020304" pitchFamily="18" charset="0"/>
                        </a:rPr>
                        <a:t>T</a:t>
                      </a:r>
                      <a:r>
                        <a:rPr lang="es-ES" sz="2200" b="0" i="0" kern="1200">
                          <a:solidFill>
                            <a:schemeClr val="dk1"/>
                          </a:solidFill>
                          <a:effectLst/>
                          <a:latin typeface="Times New Roman" panose="02020603050405020304" pitchFamily="18" charset="0"/>
                          <a:ea typeface="+mn-ea"/>
                          <a:cs typeface="Times New Roman" panose="02020603050405020304" pitchFamily="18" charset="0"/>
                        </a:rPr>
                        <a:t>ình hình thời tiết tương đối thuận lợi cho hoạt động khai thác thủy sản trên biể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200" b="0" kern="1200">
                          <a:solidFill>
                            <a:schemeClr val="dk1"/>
                          </a:solidFill>
                          <a:effectLst/>
                          <a:latin typeface="Times New Roman" panose="02020603050405020304" pitchFamily="18" charset="0"/>
                          <a:ea typeface="+mn-ea"/>
                          <a:cs typeface="Times New Roman" panose="02020603050405020304" pitchFamily="18" charset="0"/>
                        </a:rPr>
                        <a:t>Sản lượng khai thác thủy sản </a:t>
                      </a:r>
                      <a:r>
                        <a:rPr lang="vi-VN" sz="2200" b="0" kern="1200">
                          <a:solidFill>
                            <a:schemeClr val="dk1"/>
                          </a:solidFill>
                          <a:effectLst/>
                          <a:latin typeface="Times New Roman" panose="02020603050405020304" pitchFamily="18" charset="0"/>
                          <a:ea typeface="+mn-ea"/>
                          <a:cs typeface="Times New Roman" panose="02020603050405020304" pitchFamily="18" charset="0"/>
                        </a:rPr>
                        <a:t>7 </a:t>
                      </a:r>
                      <a:r>
                        <a:rPr lang="vi-VN" sz="2200" b="0" kern="1200">
                          <a:solidFill>
                            <a:schemeClr val="tx1"/>
                          </a:solidFill>
                          <a:effectLst/>
                          <a:latin typeface="Times New Roman" panose="02020603050405020304" pitchFamily="18" charset="0"/>
                          <a:ea typeface="+mn-ea"/>
                          <a:cs typeface="Times New Roman" panose="02020603050405020304" pitchFamily="18" charset="0"/>
                        </a:rPr>
                        <a:t>tháng đạt 162.417 </a:t>
                      </a:r>
                      <a:r>
                        <a:rPr lang="es-ES" sz="2200" b="0" kern="1200">
                          <a:solidFill>
                            <a:schemeClr val="tx1"/>
                          </a:solidFill>
                          <a:effectLst/>
                          <a:latin typeface="Times New Roman" panose="02020603050405020304" pitchFamily="18" charset="0"/>
                          <a:ea typeface="+mn-ea"/>
                          <a:cs typeface="Times New Roman" panose="02020603050405020304" pitchFamily="18" charset="0"/>
                        </a:rPr>
                        <a:t>tấn, tăng </a:t>
                      </a:r>
                      <a:r>
                        <a:rPr lang="en-US" sz="2200" b="0" kern="1200">
                          <a:solidFill>
                            <a:schemeClr val="tx1"/>
                          </a:solidFill>
                          <a:effectLst/>
                          <a:latin typeface="Times New Roman" panose="02020603050405020304" pitchFamily="18" charset="0"/>
                          <a:ea typeface="+mn-ea"/>
                          <a:cs typeface="Times New Roman" panose="02020603050405020304" pitchFamily="18" charset="0"/>
                        </a:rPr>
                        <a:t>3,</a:t>
                      </a:r>
                      <a:r>
                        <a:rPr lang="vi-VN" sz="2200" b="0" kern="1200">
                          <a:solidFill>
                            <a:schemeClr val="tx1"/>
                          </a:solidFill>
                          <a:effectLst/>
                          <a:latin typeface="Times New Roman" panose="02020603050405020304" pitchFamily="18" charset="0"/>
                          <a:ea typeface="+mn-ea"/>
                          <a:cs typeface="Times New Roman" panose="02020603050405020304" pitchFamily="18" charset="0"/>
                        </a:rPr>
                        <a:t>3</a:t>
                      </a:r>
                      <a:r>
                        <a:rPr lang="es-ES" sz="2200" b="0" kern="1200">
                          <a:solidFill>
                            <a:schemeClr val="tx1"/>
                          </a:solidFill>
                          <a:effectLst/>
                          <a:latin typeface="Times New Roman" panose="02020603050405020304" pitchFamily="18" charset="0"/>
                          <a:ea typeface="+mn-ea"/>
                          <a:cs typeface="Times New Roman" panose="02020603050405020304" pitchFamily="18" charset="0"/>
                        </a:rPr>
                        <a:t>%</a:t>
                      </a:r>
                      <a:r>
                        <a:rPr lang="vi-VN" sz="2200" b="0" kern="1200">
                          <a:solidFill>
                            <a:schemeClr val="tx1"/>
                          </a:solidFill>
                          <a:effectLst/>
                          <a:latin typeface="Times New Roman" panose="02020603050405020304" pitchFamily="18" charset="0"/>
                          <a:ea typeface="+mn-ea"/>
                          <a:cs typeface="Times New Roman" panose="02020603050405020304" pitchFamily="18" charset="0"/>
                        </a:rPr>
                        <a:t>;</a:t>
                      </a:r>
                      <a:r>
                        <a:rPr lang="es-ES" sz="2200" b="0" kern="1200">
                          <a:solidFill>
                            <a:schemeClr val="tx1"/>
                          </a:solidFill>
                          <a:effectLst/>
                          <a:latin typeface="Times New Roman" panose="02020603050405020304" pitchFamily="18" charset="0"/>
                          <a:ea typeface="+mn-ea"/>
                          <a:cs typeface="Times New Roman" panose="02020603050405020304" pitchFamily="18" charset="0"/>
                        </a:rPr>
                        <a:t> sản lượng nuôi trồng ước đạt </a:t>
                      </a:r>
                      <a:r>
                        <a:rPr lang="vi-VN" sz="2200" b="0" kern="1200">
                          <a:solidFill>
                            <a:schemeClr val="tx1"/>
                          </a:solidFill>
                          <a:effectLst/>
                          <a:latin typeface="Times New Roman" panose="02020603050405020304" pitchFamily="18" charset="0"/>
                          <a:ea typeface="+mn-ea"/>
                          <a:cs typeface="Times New Roman" panose="02020603050405020304" pitchFamily="18" charset="0"/>
                        </a:rPr>
                        <a:t>7.462</a:t>
                      </a:r>
                      <a:r>
                        <a:rPr lang="es-ES" sz="2200" b="0" kern="1200">
                          <a:solidFill>
                            <a:schemeClr val="tx1"/>
                          </a:solidFill>
                          <a:effectLst/>
                          <a:latin typeface="Times New Roman" panose="02020603050405020304" pitchFamily="18" charset="0"/>
                          <a:ea typeface="+mn-ea"/>
                          <a:cs typeface="Times New Roman" panose="02020603050405020304" pitchFamily="18" charset="0"/>
                        </a:rPr>
                        <a:t> tấn, giảm </a:t>
                      </a:r>
                      <a:r>
                        <a:rPr lang="vi-VN" sz="2200" b="0" kern="1200">
                          <a:solidFill>
                            <a:schemeClr val="tx1"/>
                          </a:solidFill>
                          <a:effectLst/>
                          <a:latin typeface="Times New Roman" panose="02020603050405020304" pitchFamily="18" charset="0"/>
                          <a:ea typeface="+mn-ea"/>
                          <a:cs typeface="Times New Roman" panose="02020603050405020304" pitchFamily="18" charset="0"/>
                        </a:rPr>
                        <a:t>0,97</a:t>
                      </a:r>
                      <a:r>
                        <a:rPr lang="es-ES" sz="2200" b="0" kern="1200">
                          <a:solidFill>
                            <a:schemeClr val="tx1"/>
                          </a:solidFill>
                          <a:effectLst/>
                          <a:latin typeface="Times New Roman" panose="02020603050405020304" pitchFamily="18" charset="0"/>
                          <a:ea typeface="+mn-ea"/>
                          <a:cs typeface="Times New Roman" panose="02020603050405020304" pitchFamily="18" charset="0"/>
                        </a:rPr>
                        <a:t>%</a:t>
                      </a:r>
                      <a:endParaRPr lang="en-US" sz="2200" b="0" i="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a:solidFill>
                            <a:schemeClr val="dk1"/>
                          </a:solidFill>
                          <a:effectLst/>
                          <a:latin typeface="Times New Roman" panose="02020603050405020304" pitchFamily="18" charset="0"/>
                          <a:ea typeface="+mn-ea"/>
                          <a:cs typeface="Times New Roman" panose="02020603050405020304" pitchFamily="18" charset="0"/>
                        </a:rPr>
                        <a:t>Tiếp </a:t>
                      </a: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ục thực hiện khắc phục khai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hác thủy sản bất hợp  pháp, không báo cáo, không theo quy định (IUU)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a:solidFill>
                            <a:schemeClr val="dk1"/>
                          </a:solidFill>
                          <a:effectLst/>
                          <a:latin typeface="Times New Roman" panose="02020603050405020304" pitchFamily="18" charset="0"/>
                          <a:ea typeface="+mn-ea"/>
                          <a:cs typeface="Times New Roman" panose="02020603050405020304" pitchFamily="18" charset="0"/>
                        </a:rPr>
                        <a:t>Tập trung triển khai các biện pháp trọng tâm chuẩn bị làm việc với Đoàn thanh tra của EC lần thứ 4</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a:solidFill>
                            <a:schemeClr val="dk1"/>
                          </a:solidFill>
                          <a:effectLst/>
                          <a:latin typeface="Times New Roman" panose="02020603050405020304" pitchFamily="18" charset="0"/>
                          <a:ea typeface="+mn-ea"/>
                          <a:cs typeface="Times New Roman" panose="02020603050405020304" pitchFamily="18" charset="0"/>
                        </a:rPr>
                        <a:t>Tổ chức Đoàn công tác gặp gỡ ngư dân có tàu cá thường xuyên di chuyển ngư trường hoạt động ở các tỉnh phía Nam hàng năm không đưa tàu về địa phương</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3061" y="1009074"/>
            <a:ext cx="4063551" cy="2527801"/>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5. </a:t>
            </a:r>
            <a:r>
              <a:rPr lang="en-US" sz="2800" b="1" spc="-20" dirty="0" err="1">
                <a:solidFill>
                  <a:srgbClr val="100717"/>
                </a:solidFill>
                <a:latin typeface="Times New Roman" panose="02020603050405020304" pitchFamily="18" charset="0"/>
                <a:cs typeface="Times New Roman" panose="02020603050405020304" pitchFamily="18" charset="0"/>
              </a:rPr>
              <a:t>N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hô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mớ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754563561"/>
              </p:ext>
            </p:extLst>
          </p:nvPr>
        </p:nvGraphicFramePr>
        <p:xfrm>
          <a:off x="371913" y="1510795"/>
          <a:ext cx="7169790" cy="4511040"/>
        </p:xfrm>
        <a:graphic>
          <a:graphicData uri="http://schemas.openxmlformats.org/drawingml/2006/table">
            <a:tbl>
              <a:tblPr firstRow="1" bandRow="1"/>
              <a:tblGrid>
                <a:gridCol w="71697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a:t>
                      </a:r>
                      <a:r>
                        <a:rPr lang="vi-VN" sz="2000" b="0" i="0" kern="1200">
                          <a:solidFill>
                            <a:schemeClr val="dk1"/>
                          </a:solidFill>
                          <a:effectLst/>
                          <a:latin typeface="Times New Roman" panose="02020603050405020304" pitchFamily="18" charset="0"/>
                          <a:ea typeface="+mn-ea"/>
                          <a:cs typeface="Times New Roman" panose="02020603050405020304" pitchFamily="18" charset="0"/>
                        </a:rPr>
                        <a:t>hiệu quả</a:t>
                      </a:r>
                      <a:r>
                        <a:rPr lang="pt-BR"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năm 2023, củng cố và nâng cao chất lượng các xã đã được công nhận đạt chuẩn trên địa 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háng 7/2023</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 kết quả đạt được:</a:t>
                      </a:r>
                    </a:p>
                    <a:p>
                      <a:pPr marL="342900" marR="0" lvl="0" indent="5400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 tỷ lệ 45,45%</a:t>
                      </a:r>
                      <a:endParaRPr lang="en-US"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5400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4/109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77,</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06%;</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5400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4</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nâng cao,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20,24</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oàn tỉnh có 217 sản phẩm được UBND tỉnh công nhận đạt tiêu chuẩn OCOP cấp tỉnh</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1703" y="1922215"/>
            <a:ext cx="4762500"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416782"/>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811028151"/>
              </p:ext>
            </p:extLst>
          </p:nvPr>
        </p:nvGraphicFramePr>
        <p:xfrm>
          <a:off x="419990" y="2175519"/>
          <a:ext cx="6534483" cy="1920240"/>
        </p:xfrm>
        <a:graphic>
          <a:graphicData uri="http://schemas.openxmlformats.org/drawingml/2006/table">
            <a:tbl>
              <a:tblPr firstRow="1" bandRow="1"/>
              <a:tblGrid>
                <a:gridCol w="6534483">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Chỉ số sản xuất công nghiệp (</a:t>
                      </a:r>
                      <a:r>
                        <a:rPr lang="it-IT" sz="2000" b="0" kern="1200">
                          <a:solidFill>
                            <a:schemeClr val="dk1"/>
                          </a:solidFill>
                          <a:effectLst/>
                          <a:latin typeface="Times New Roman" panose="02020603050405020304" pitchFamily="18" charset="0"/>
                          <a:ea typeface="+mn-ea"/>
                          <a:cs typeface="Times New Roman" panose="02020603050405020304" pitchFamily="18" charset="0"/>
                        </a:rPr>
                        <a:t>IIP)</a:t>
                      </a:r>
                      <a:r>
                        <a:rPr lang="vi-VN" sz="2000" b="0" kern="1200">
                          <a:solidFill>
                            <a:schemeClr val="dk1"/>
                          </a:solidFill>
                          <a:effectLst/>
                          <a:latin typeface="Times New Roman" panose="02020603050405020304" pitchFamily="18" charset="0"/>
                          <a:ea typeface="+mn-ea"/>
                          <a:cs typeface="Times New Roman" panose="02020603050405020304" pitchFamily="18" charset="0"/>
                        </a:rPr>
                        <a:t> tháng 7/2023 tăng 1,68% so với tháng 6/2023 và tăng 4,1%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Tính chung</a:t>
                      </a: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7 tháng, chỉ số IIP </a:t>
                      </a: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en-US" sz="2000" b="0" kern="1200">
                          <a:solidFill>
                            <a:schemeClr val="dk1"/>
                          </a:solidFill>
                          <a:effectLst/>
                          <a:latin typeface="Times New Roman" panose="02020603050405020304" pitchFamily="18" charset="0"/>
                          <a:ea typeface="+mn-ea"/>
                          <a:cs typeface="Times New Roman" panose="02020603050405020304" pitchFamily="18" charset="0"/>
                        </a:rPr>
                        <a:t>ăng 0,36%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a:solidFill>
                            <a:schemeClr val="dk1"/>
                          </a:solidFill>
                          <a:effectLst/>
                          <a:latin typeface="Times New Roman" panose="02020603050405020304" pitchFamily="18" charset="0"/>
                          <a:ea typeface="+mn-ea"/>
                          <a:cs typeface="Times New Roman" panose="02020603050405020304" pitchFamily="18" charset="0"/>
                        </a:rPr>
                        <a:t>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ình hình sản xuất công nghiệp vẫn gặp khó khăn và dự báo sẽ còn tiếp diễn trong thời gian đến</a:t>
                      </a:r>
                      <a:endParaRPr lang="it-IT"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pic>
        <p:nvPicPr>
          <p:cNvPr id="4" name="Picture 3" descr="A banner with a city and text&#10;&#10;Description automatically generated">
            <a:extLst>
              <a:ext uri="{FF2B5EF4-FFF2-40B4-BE49-F238E27FC236}">
                <a16:creationId xmlns:a16="http://schemas.microsoft.com/office/drawing/2014/main" id="{0B03A63B-EAE8-62B3-291C-900E93E303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30642" y="2089503"/>
            <a:ext cx="4721241" cy="2678994"/>
          </a:xfrm>
          <a:prstGeom prst="rect">
            <a:avLst/>
          </a:prstGeom>
        </p:spPr>
      </p:pic>
    </p:spTree>
    <p:extLst>
      <p:ext uri="{BB962C8B-B14F-4D97-AF65-F5344CB8AC3E}">
        <p14:creationId xmlns:p14="http://schemas.microsoft.com/office/powerpoint/2010/main" val="2148431958"/>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26531270"/>
              </p:ext>
            </p:extLst>
          </p:nvPr>
        </p:nvGraphicFramePr>
        <p:xfrm>
          <a:off x="401505" y="1455490"/>
          <a:ext cx="5328176" cy="4937760"/>
        </p:xfrm>
        <a:graphic>
          <a:graphicData uri="http://schemas.openxmlformats.org/drawingml/2006/table">
            <a:tbl>
              <a:tblPr firstRow="1" bandRow="1"/>
              <a:tblGrid>
                <a:gridCol w="532817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Đã ban hành 02 chính sách về “Hỗ trợ nhà ở cho hộ nghèo, hộ cận nghèo trên địa bàn tỉnh Bình Định giai đoạn đến năm 2025” “Quy định cơ chế hỗ trợ đầu tư xây dựng nhà ở xã hội trên địa bàn tỉnh Bình Đị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ập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đoạn qua địa </a:t>
                      </a:r>
                      <a:r>
                        <a:rPr lang="it-IT" sz="1800" b="0" kern="1200">
                          <a:solidFill>
                            <a:schemeClr val="dk1"/>
                          </a:solidFill>
                          <a:effectLst/>
                          <a:latin typeface="Times New Roman" panose="02020603050405020304" pitchFamily="18" charset="0"/>
                          <a:ea typeface="+mn-ea"/>
                          <a:cs typeface="Times New Roman" panose="02020603050405020304" pitchFamily="18" charset="0"/>
                        </a:rPr>
                        <a:t>bàn </a:t>
                      </a:r>
                      <a:r>
                        <a:rPr lang="it-IT" sz="1800" b="0" kern="1200">
                          <a:solidFill>
                            <a:schemeClr val="tx1"/>
                          </a:solidFill>
                          <a:effectLst/>
                          <a:latin typeface="Times New Roman" panose="02020603050405020304" pitchFamily="18" charset="0"/>
                          <a:ea typeface="+mn-ea"/>
                          <a:cs typeface="Times New Roman" panose="02020603050405020304" pitchFamily="18" charset="0"/>
                        </a:rPr>
                        <a:t>tỉnh</a:t>
                      </a:r>
                      <a:r>
                        <a:rPr lang="vi-VN" sz="1800" b="0" kern="1200">
                          <a:solidFill>
                            <a:schemeClr val="tx1"/>
                          </a:solidFill>
                          <a:effectLst/>
                          <a:latin typeface="Times New Roman" panose="02020603050405020304" pitchFamily="18" charset="0"/>
                          <a:ea typeface="+mn-ea"/>
                          <a:cs typeface="Times New Roman" panose="02020603050405020304" pitchFamily="18" charset="0"/>
                        </a:rPr>
                        <a:t>; đ</a:t>
                      </a:r>
                      <a:r>
                        <a:rPr lang="nl-NL" sz="1800" b="0" kern="1200">
                          <a:solidFill>
                            <a:schemeClr val="tx1"/>
                          </a:solidFill>
                          <a:effectLst/>
                          <a:latin typeface="Times New Roman" panose="02020603050405020304" pitchFamily="18" charset="0"/>
                          <a:ea typeface="+mn-ea"/>
                          <a:cs typeface="Times New Roman" panose="02020603050405020304" pitchFamily="18" charset="0"/>
                        </a:rPr>
                        <a:t>ã bàn giao mặt bằng </a:t>
                      </a:r>
                      <a:r>
                        <a:rPr lang="vi-VN" sz="1800" b="0" kern="1200">
                          <a:solidFill>
                            <a:schemeClr val="tx1"/>
                          </a:solidFill>
                          <a:effectLst/>
                          <a:latin typeface="Times New Roman" panose="02020603050405020304" pitchFamily="18" charset="0"/>
                          <a:ea typeface="+mn-ea"/>
                          <a:cs typeface="Times New Roman" panose="02020603050405020304" pitchFamily="18" charset="0"/>
                        </a:rPr>
                        <a:t>103,4</a:t>
                      </a:r>
                      <a:r>
                        <a:rPr lang="nl-NL" sz="1800" b="0" kern="1200">
                          <a:solidFill>
                            <a:schemeClr val="tx1"/>
                          </a:solidFill>
                          <a:effectLst/>
                          <a:latin typeface="Times New Roman" panose="02020603050405020304" pitchFamily="18" charset="0"/>
                          <a:ea typeface="+mn-ea"/>
                          <a:cs typeface="Times New Roman" panose="02020603050405020304" pitchFamily="18" charset="0"/>
                        </a:rPr>
                        <a:t>/117,4km chiều dài toàn tuyến</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nl-NL" sz="1800" b="0" kern="1200">
                          <a:solidFill>
                            <a:schemeClr val="tx1"/>
                          </a:solidFill>
                          <a:effectLst/>
                          <a:latin typeface="Times New Roman" panose="02020603050405020304" pitchFamily="18" charset="0"/>
                          <a:ea typeface="+mn-ea"/>
                          <a:cs typeface="Times New Roman" panose="02020603050405020304" pitchFamily="18" charset="0"/>
                        </a:rPr>
                        <a:t>đạt 8</a:t>
                      </a:r>
                      <a:r>
                        <a:rPr lang="vi-VN" sz="1800" b="0" kern="1200">
                          <a:solidFill>
                            <a:schemeClr val="tx1"/>
                          </a:solidFill>
                          <a:effectLst/>
                          <a:latin typeface="Times New Roman" panose="02020603050405020304" pitchFamily="18" charset="0"/>
                          <a:ea typeface="+mn-ea"/>
                          <a:cs typeface="Times New Roman" panose="02020603050405020304" pitchFamily="18" charset="0"/>
                        </a:rPr>
                        <a:t>8</a:t>
                      </a:r>
                      <a:r>
                        <a:rPr lang="nl-NL" sz="1800" b="0" kern="1200">
                          <a:solidFill>
                            <a:schemeClr val="tx1"/>
                          </a:solidFill>
                          <a:effectLst/>
                          <a:latin typeface="Times New Roman" panose="02020603050405020304" pitchFamily="18" charset="0"/>
                          <a:ea typeface="+mn-ea"/>
                          <a:cs typeface="Times New Roman" panose="02020603050405020304" pitchFamily="18" charset="0"/>
                        </a:rPr>
                        <a:t>% </a:t>
                      </a:r>
                      <a:endParaRPr lang="vi-VN" sz="1800" b="0" kern="120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tx1"/>
                          </a:solidFill>
                          <a:effectLst/>
                          <a:latin typeface="Times New Roman" panose="02020603050405020304" pitchFamily="18" charset="0"/>
                          <a:ea typeface="+mn-ea"/>
                          <a:cs typeface="Times New Roman" panose="02020603050405020304" pitchFamily="18" charset="0"/>
                        </a:rPr>
                        <a:t>Các mỏ đất để thực hiện các Khu tái định cao tốc Bắc - Nam: nguồn vật liệu đất đắp các Khu tái định cư không được áp dụng cơ chế đặc thù để rút ngắn quy trình, mà phải thực hiện đầy đủ các thủ tục hồ sơ khai thác vật liệu đất đắp theo quy định làm ảnh hưởng đến tiến độ thực hiện dự án</a:t>
                      </a:r>
                      <a:endParaRPr lang="it-IT" sz="1800" b="0" kern="120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1800" b="0" kern="1200">
                          <a:solidFill>
                            <a:schemeClr val="dk1"/>
                          </a:solidFill>
                          <a:effectLst/>
                          <a:latin typeface="Times New Roman" panose="02020603050405020304" pitchFamily="18" charset="0"/>
                          <a:ea typeface="+mn-ea"/>
                          <a:cs typeface="Times New Roman" panose="02020603050405020304" pitchFamily="18" charset="0"/>
                        </a:rPr>
                        <a:t> Tiếp tục </a:t>
                      </a:r>
                      <a:r>
                        <a:rPr lang="vi-VN" sz="1800" b="0" kern="1200">
                          <a:solidFill>
                            <a:schemeClr val="dk1"/>
                          </a:solidFill>
                          <a:effectLst/>
                          <a:latin typeface="Times New Roman" panose="02020603050405020304" pitchFamily="18" charset="0"/>
                          <a:ea typeface="+mn-ea"/>
                          <a:cs typeface="Times New Roman" panose="02020603050405020304" pitchFamily="18" charset="0"/>
                        </a:rPr>
                        <a:t>triển khai các giải pháp nâng cao chất lượng các công trình xây dựng cơ bản trên địa bàn tỉnh</a:t>
                      </a:r>
                      <a:endParaRPr lang="it-IT"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7" name="Picture 6" descr="A group of people sitting in a room&#10;&#10;Description automatically generated with low confidence">
            <a:extLst>
              <a:ext uri="{FF2B5EF4-FFF2-40B4-BE49-F238E27FC236}">
                <a16:creationId xmlns:a16="http://schemas.microsoft.com/office/drawing/2014/main" id="{5CDE7AB5-FCC7-E08F-A14A-12072FF36A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501" y="3749878"/>
            <a:ext cx="5703243" cy="2744686"/>
          </a:xfrm>
          <a:prstGeom prst="rect">
            <a:avLst/>
          </a:prstGeom>
        </p:spPr>
      </p:pic>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a:t>
            </a:r>
          </a:p>
        </p:txBody>
      </p:sp>
      <p:pic>
        <p:nvPicPr>
          <p:cNvPr id="4" name="Picture 3" descr="A group of people sitting in a room&#10;&#10;Description automatically generated with low confidence">
            <a:extLst>
              <a:ext uri="{FF2B5EF4-FFF2-40B4-BE49-F238E27FC236}">
                <a16:creationId xmlns:a16="http://schemas.microsoft.com/office/drawing/2014/main" id="{2C81FAAE-E980-C8BB-CACB-1B5EBE71F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1501" y="750673"/>
            <a:ext cx="5703243" cy="2801718"/>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961563752"/>
              </p:ext>
            </p:extLst>
          </p:nvPr>
        </p:nvGraphicFramePr>
        <p:xfrm>
          <a:off x="349542" y="1761646"/>
          <a:ext cx="5645791" cy="4084320"/>
        </p:xfrm>
        <a:graphic>
          <a:graphicData uri="http://schemas.openxmlformats.org/drawingml/2006/table">
            <a:tbl>
              <a:tblPr firstRow="1" bandRow="1"/>
              <a:tblGrid>
                <a:gridCol w="5645791">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rường</a:t>
                      </a:r>
                      <a:r>
                        <a:rPr lang="en-US" sz="1800" b="0" kern="1200">
                          <a:solidFill>
                            <a:schemeClr val="dk1"/>
                          </a:solidFill>
                          <a:effectLst/>
                          <a:latin typeface="Times New Roman" panose="02020603050405020304" pitchFamily="18" charset="0"/>
                          <a:ea typeface="+mn-ea"/>
                          <a:cs typeface="Times New Roman" panose="02020603050405020304" pitchFamily="18" charset="0"/>
                        </a:rPr>
                        <a:t> hàng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nl-NL" sz="1800" b="0" kern="1200">
                          <a:solidFill>
                            <a:schemeClr val="dk1"/>
                          </a:solidFill>
                          <a:effectLst/>
                          <a:latin typeface="Times New Roman" panose="02020603050405020304" pitchFamily="18" charset="0"/>
                          <a:ea typeface="+mn-ea"/>
                          <a:cs typeface="Times New Roman" panose="02020603050405020304" pitchFamily="18" charset="0"/>
                        </a:rPr>
                        <a:t>5</a:t>
                      </a:r>
                      <a:r>
                        <a:rPr lang="vi-VN" sz="1800" b="0" kern="1200">
                          <a:solidFill>
                            <a:schemeClr val="dk1"/>
                          </a:solidFill>
                          <a:effectLst/>
                          <a:latin typeface="Times New Roman" panose="02020603050405020304" pitchFamily="18" charset="0"/>
                          <a:ea typeface="+mn-ea"/>
                          <a:cs typeface="Times New Roman" panose="02020603050405020304" pitchFamily="18" charset="0"/>
                        </a:rPr>
                        <a:t>9.462,4</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tỷ đồng, </a:t>
                      </a:r>
                      <a:r>
                        <a:rPr lang="nl-NL" sz="1800" b="0" kern="1200">
                          <a:solidFill>
                            <a:schemeClr val="dk1"/>
                          </a:solidFill>
                          <a:effectLst/>
                          <a:latin typeface="Times New Roman" panose="02020603050405020304" pitchFamily="18" charset="0"/>
                          <a:ea typeface="+mn-ea"/>
                          <a:cs typeface="Times New Roman" panose="02020603050405020304" pitchFamily="18" charset="0"/>
                        </a:rPr>
                        <a:t>tăng 17</a:t>
                      </a:r>
                      <a:r>
                        <a:rPr lang="vi-VN" sz="1800" b="0" kern="1200">
                          <a:solidFill>
                            <a:schemeClr val="dk1"/>
                          </a:solidFill>
                          <a:effectLst/>
                          <a:latin typeface="Times New Roman" panose="02020603050405020304" pitchFamily="18" charset="0"/>
                          <a:ea typeface="+mn-ea"/>
                          <a:cs typeface="Times New Roman" panose="02020603050405020304" pitchFamily="18" charset="0"/>
                        </a:rPr>
                        <a:t>,7</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so với cùng kỳ</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ể</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dung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ích</a:t>
                      </a:r>
                      <a:r>
                        <a:rPr lang="en-US" sz="1800" b="0" kern="1200">
                          <a:solidFill>
                            <a:schemeClr val="dk1"/>
                          </a:solidFill>
                          <a:effectLst/>
                          <a:latin typeface="Times New Roman" panose="02020603050405020304" pitchFamily="18" charset="0"/>
                          <a:ea typeface="+mn-ea"/>
                          <a:cs typeface="Times New Roman" panose="02020603050405020304" pitchFamily="18" charset="0"/>
                        </a:rPr>
                        <a:t> cực</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baseline="0">
                          <a:solidFill>
                            <a:schemeClr val="dk1"/>
                          </a:solidFill>
                          <a:effectLst/>
                          <a:latin typeface="Times New Roman" panose="02020603050405020304" pitchFamily="18" charset="0"/>
                          <a:ea typeface="+mn-ea"/>
                          <a:cs typeface="Times New Roman" panose="02020603050405020304" pitchFamily="18" charset="0"/>
                        </a:rPr>
                        <a:t>Hoạt động hỗ trợ tiêu thụ nông sản được đẩy mạnh. Đã làm việc với một số Công ty để xuất khẩu thí điểm một số nông sản chủ lực của tỉnh, trong đó ưu tiên các mặt hàng ớt, xoài, bưởi, dừa...</a:t>
                      </a: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pic>
        <p:nvPicPr>
          <p:cNvPr id="3" name="Picture 2" descr="A close-up of a sign&#10;&#10;Description automatically generated">
            <a:extLst>
              <a:ext uri="{FF2B5EF4-FFF2-40B4-BE49-F238E27FC236}">
                <a16:creationId xmlns:a16="http://schemas.microsoft.com/office/drawing/2014/main" id="{E4D795AE-0A17-698E-822E-865F90272C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6669" y="1663489"/>
            <a:ext cx="5914286" cy="3161905"/>
          </a:xfrm>
          <a:prstGeom prst="rect">
            <a:avLst/>
          </a:prstGeom>
        </p:spPr>
      </p:pic>
    </p:spTree>
    <p:extLst>
      <p:ext uri="{BB962C8B-B14F-4D97-AF65-F5344CB8AC3E}">
        <p14:creationId xmlns:p14="http://schemas.microsoft.com/office/powerpoint/2010/main" val="3864172541"/>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sky, water, boat, outdoor&#10;&#10;Description automatically generated">
            <a:extLst>
              <a:ext uri="{FF2B5EF4-FFF2-40B4-BE49-F238E27FC236}">
                <a16:creationId xmlns:a16="http://schemas.microsoft.com/office/drawing/2014/main" id="{02B9306E-529A-4AF8-06B9-34FAF79AB840}"/>
              </a:ext>
            </a:extLst>
          </p:cNvPr>
          <p:cNvPicPr>
            <a:picLocks noChangeAspect="1"/>
          </p:cNvPicPr>
          <p:nvPr/>
        </p:nvPicPr>
        <p:blipFill>
          <a:blip r:embed="rId3"/>
          <a:stretch>
            <a:fillRect/>
          </a:stretch>
        </p:blipFill>
        <p:spPr>
          <a:xfrm>
            <a:off x="620343" y="1456235"/>
            <a:ext cx="5572989" cy="4891189"/>
          </a:xfrm>
          <a:prstGeom prst="rect">
            <a:avLst/>
          </a:prstGeom>
          <a:ln>
            <a:noFill/>
          </a:ln>
          <a:effectLst>
            <a:softEdge rad="112500"/>
          </a:effectLst>
        </p:spPr>
      </p:pic>
      <p:grpSp>
        <p:nvGrpSpPr>
          <p:cNvPr id="4" name="Group 3">
            <a:extLst>
              <a:ext uri="{FF2B5EF4-FFF2-40B4-BE49-F238E27FC236}">
                <a16:creationId xmlns:a16="http://schemas.microsoft.com/office/drawing/2014/main" id="{DD6FE299-8573-1A4B-3C63-313A94891E7F}"/>
              </a:ext>
            </a:extLst>
          </p:cNvPr>
          <p:cNvGrpSpPr>
            <a:grpSpLocks/>
          </p:cNvGrpSpPr>
          <p:nvPr/>
        </p:nvGrpSpPr>
        <p:grpSpPr>
          <a:xfrm>
            <a:off x="8504536" y="1627347"/>
            <a:ext cx="3425432" cy="1866883"/>
            <a:chOff x="5344188" y="615842"/>
            <a:chExt cx="2327323" cy="954635"/>
          </a:xfrm>
        </p:grpSpPr>
        <p:grpSp>
          <p:nvGrpSpPr>
            <p:cNvPr id="28" name="Group 27">
              <a:extLst>
                <a:ext uri="{FF2B5EF4-FFF2-40B4-BE49-F238E27FC236}">
                  <a16:creationId xmlns:a16="http://schemas.microsoft.com/office/drawing/2014/main" id="{0B90EE65-5738-4626-8A22-5E90379DC67A}"/>
                </a:ext>
              </a:extLst>
            </p:cNvPr>
            <p:cNvGrpSpPr>
              <a:grpSpLocks/>
            </p:cNvGrpSpPr>
            <p:nvPr/>
          </p:nvGrpSpPr>
          <p:grpSpPr>
            <a:xfrm>
              <a:off x="5344188" y="615842"/>
              <a:ext cx="2327323" cy="954635"/>
              <a:chOff x="2466519" y="326131"/>
              <a:chExt cx="2976909" cy="1381499"/>
            </a:xfrm>
          </p:grpSpPr>
          <p:sp>
            <p:nvSpPr>
              <p:cNvPr id="26" name="Rectangle 25">
                <a:extLst>
                  <a:ext uri="{FF2B5EF4-FFF2-40B4-BE49-F238E27FC236}">
                    <a16:creationId xmlns:a16="http://schemas.microsoft.com/office/drawing/2014/main" id="{E4C1109C-E907-4891-AAC9-9B2777BED936}"/>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27" name="Rectangle 26">
                <a:extLst>
                  <a:ext uri="{FF2B5EF4-FFF2-40B4-BE49-F238E27FC236}">
                    <a16:creationId xmlns:a16="http://schemas.microsoft.com/office/drawing/2014/main" id="{DED54E44-91A3-49A6-8236-3EFCF1989608}"/>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9" name="Google Shape;2624;p37">
              <a:extLst>
                <a:ext uri="{FF2B5EF4-FFF2-40B4-BE49-F238E27FC236}">
                  <a16:creationId xmlns:a16="http://schemas.microsoft.com/office/drawing/2014/main" id="{7264A84C-57F7-F74D-C532-6F7E2AD94E1E}"/>
                </a:ext>
              </a:extLst>
            </p:cNvPr>
            <p:cNvSpPr txBox="1">
              <a:spLocks/>
            </p:cNvSpPr>
            <p:nvPr/>
          </p:nvSpPr>
          <p:spPr>
            <a:xfrm>
              <a:off x="5674126" y="658400"/>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851,5</a:t>
              </a:r>
              <a:r>
                <a:rPr lang="en-US" sz="3200" b="1">
                  <a:latin typeface="Times New Roman" panose="02020603050405020304" pitchFamily="18" charset="0"/>
                  <a:ea typeface="Roboto"/>
                  <a:cs typeface="Times New Roman" panose="02020603050405020304" pitchFamily="18" charset="0"/>
                  <a:sym typeface="Roboto"/>
                </a:rPr>
                <a:t> </a:t>
              </a:r>
              <a:r>
                <a:rPr lang="en-US"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43" name="Google Shape;2623;p37">
              <a:extLst>
                <a:ext uri="{FF2B5EF4-FFF2-40B4-BE49-F238E27FC236}">
                  <a16:creationId xmlns:a16="http://schemas.microsoft.com/office/drawing/2014/main" id="{30203544-5CA4-077B-B78C-B19B96F8FC77}"/>
                </a:ext>
              </a:extLst>
            </p:cNvPr>
            <p:cNvSpPr txBox="1">
              <a:spLocks/>
            </p:cNvSpPr>
            <p:nvPr/>
          </p:nvSpPr>
          <p:spPr>
            <a:xfrm>
              <a:off x="5795546" y="1019198"/>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a:t>
              </a:r>
              <a:r>
                <a:rPr lang="vi-VN" sz="1600" b="1" dirty="0">
                  <a:solidFill>
                    <a:schemeClr val="dk1"/>
                  </a:solidFill>
                  <a:latin typeface="Times New Roman" panose="02020603050405020304" pitchFamily="18" charset="0"/>
                  <a:ea typeface="Roboto"/>
                  <a:cs typeface="Times New Roman" panose="02020603050405020304" pitchFamily="18" charset="0"/>
                  <a:sym typeface="Roboto"/>
                </a:rPr>
                <a:t>xuất</a:t>
              </a:r>
              <a:r>
                <a:rPr lang="en" sz="1600" b="1" dirty="0">
                  <a:solidFill>
                    <a:schemeClr val="dk1"/>
                  </a:solidFill>
                  <a:latin typeface="Times New Roman" panose="02020603050405020304" pitchFamily="18" charset="0"/>
                  <a:ea typeface="Roboto"/>
                  <a:cs typeface="Times New Roman" panose="02020603050405020304" pitchFamily="18" charset="0"/>
                  <a:sym typeface="Roboto"/>
                </a:rPr>
                <a:t>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133"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3 %</a:t>
              </a:r>
              <a:endParaRPr lang="en-US" sz="2133"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4" name="Isosceles Triangle 43">
              <a:extLst>
                <a:ext uri="{FF2B5EF4-FFF2-40B4-BE49-F238E27FC236}">
                  <a16:creationId xmlns:a16="http://schemas.microsoft.com/office/drawing/2014/main" id="{50C95BBD-E23A-B1B8-65E6-50F0672F1BF9}"/>
                </a:ext>
              </a:extLst>
            </p:cNvPr>
            <p:cNvSpPr>
              <a:spLocks/>
            </p:cNvSpPr>
            <p:nvPr/>
          </p:nvSpPr>
          <p:spPr>
            <a:xfrm rot="10800000">
              <a:off x="6047804" y="126389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 name="Group 5">
            <a:extLst>
              <a:ext uri="{FF2B5EF4-FFF2-40B4-BE49-F238E27FC236}">
                <a16:creationId xmlns:a16="http://schemas.microsoft.com/office/drawing/2014/main" id="{E56EEAD7-BA7C-5393-023B-57E291DB0A7A}"/>
              </a:ext>
            </a:extLst>
          </p:cNvPr>
          <p:cNvGrpSpPr>
            <a:grpSpLocks/>
          </p:cNvGrpSpPr>
          <p:nvPr/>
        </p:nvGrpSpPr>
        <p:grpSpPr>
          <a:xfrm>
            <a:off x="8480475" y="4068661"/>
            <a:ext cx="3431892" cy="2103099"/>
            <a:chOff x="5346834" y="2051588"/>
            <a:chExt cx="2324678" cy="934772"/>
          </a:xfrm>
        </p:grpSpPr>
        <p:grpSp>
          <p:nvGrpSpPr>
            <p:cNvPr id="40" name="Group 39">
              <a:extLst>
                <a:ext uri="{FF2B5EF4-FFF2-40B4-BE49-F238E27FC236}">
                  <a16:creationId xmlns:a16="http://schemas.microsoft.com/office/drawing/2014/main" id="{BE3E5856-2A5B-1525-172D-221374DB900C}"/>
                </a:ext>
              </a:extLst>
            </p:cNvPr>
            <p:cNvGrpSpPr>
              <a:grpSpLocks/>
            </p:cNvGrpSpPr>
            <p:nvPr/>
          </p:nvGrpSpPr>
          <p:grpSpPr>
            <a:xfrm>
              <a:off x="5346834" y="2051588"/>
              <a:ext cx="2324678" cy="912070"/>
              <a:chOff x="2466519" y="326131"/>
              <a:chExt cx="2976909" cy="1381499"/>
            </a:xfrm>
          </p:grpSpPr>
          <p:sp>
            <p:nvSpPr>
              <p:cNvPr id="41" name="Rectangle 40">
                <a:extLst>
                  <a:ext uri="{FF2B5EF4-FFF2-40B4-BE49-F238E27FC236}">
                    <a16:creationId xmlns:a16="http://schemas.microsoft.com/office/drawing/2014/main" id="{F77FA335-6173-114D-DB59-E0B0D744875D}"/>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42" name="Rectangle 41">
                <a:extLst>
                  <a:ext uri="{FF2B5EF4-FFF2-40B4-BE49-F238E27FC236}">
                    <a16:creationId xmlns:a16="http://schemas.microsoft.com/office/drawing/2014/main" id="{9BF3F1D0-FD69-04F3-1CB0-90127AAFA987}"/>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 name="Google Shape;2624;p37">
              <a:extLst>
                <a:ext uri="{FF2B5EF4-FFF2-40B4-BE49-F238E27FC236}">
                  <a16:creationId xmlns:a16="http://schemas.microsoft.com/office/drawing/2014/main" id="{E99E09BE-73DB-3EA0-743A-B6780F7EC077}"/>
                </a:ext>
              </a:extLst>
            </p:cNvPr>
            <p:cNvSpPr txBox="1">
              <a:spLocks/>
            </p:cNvSpPr>
            <p:nvPr/>
          </p:nvSpPr>
          <p:spPr>
            <a:xfrm>
              <a:off x="5675100" y="2100957"/>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249,3</a:t>
              </a:r>
              <a:r>
                <a:rPr lang="en-US" sz="3200" b="1">
                  <a:latin typeface="Times New Roman" panose="02020603050405020304" pitchFamily="18" charset="0"/>
                  <a:ea typeface="Roboto"/>
                  <a:cs typeface="Times New Roman" panose="02020603050405020304" pitchFamily="18" charset="0"/>
                  <a:sym typeface="Roboto"/>
                </a:rPr>
                <a:t> </a:t>
              </a:r>
              <a:r>
                <a:rPr lang="en-US" sz="1200"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sz="1200"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7" name="Google Shape;2623;p37">
              <a:extLst>
                <a:ext uri="{FF2B5EF4-FFF2-40B4-BE49-F238E27FC236}">
                  <a16:creationId xmlns:a16="http://schemas.microsoft.com/office/drawing/2014/main" id="{819C62AF-660F-4A4C-8D60-DED895CA4F86}"/>
                </a:ext>
              </a:extLst>
            </p:cNvPr>
            <p:cNvSpPr txBox="1">
              <a:spLocks/>
            </p:cNvSpPr>
            <p:nvPr/>
          </p:nvSpPr>
          <p:spPr>
            <a:xfrm>
              <a:off x="5896459" y="2440216"/>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nhập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400"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8,6%</a:t>
              </a:r>
              <a:endParaRPr lang="en-US" sz="2400"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5" name="Isosceles Triangle 44">
              <a:extLst>
                <a:ext uri="{FF2B5EF4-FFF2-40B4-BE49-F238E27FC236}">
                  <a16:creationId xmlns:a16="http://schemas.microsoft.com/office/drawing/2014/main" id="{CFBD9A4B-0FDC-858C-D3AD-8AD513C11683}"/>
                </a:ext>
              </a:extLst>
            </p:cNvPr>
            <p:cNvSpPr>
              <a:spLocks/>
            </p:cNvSpPr>
            <p:nvPr/>
          </p:nvSpPr>
          <p:spPr>
            <a:xfrm rot="10800000">
              <a:off x="6137876" y="266823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descr="A picture containing arrow&#10;&#10;Description automatically generated">
            <a:extLst>
              <a:ext uri="{FF2B5EF4-FFF2-40B4-BE49-F238E27FC236}">
                <a16:creationId xmlns:a16="http://schemas.microsoft.com/office/drawing/2014/main" id="{1E5AC274-1FDC-ED10-46A7-61EEC50075A0}"/>
              </a:ext>
            </a:extLst>
          </p:cNvPr>
          <p:cNvPicPr>
            <a:picLocks noChangeAspect="1"/>
          </p:cNvPicPr>
          <p:nvPr/>
        </p:nvPicPr>
        <p:blipFill>
          <a:blip r:embed="rId4"/>
          <a:stretch>
            <a:fillRect/>
          </a:stretch>
        </p:blipFill>
        <p:spPr>
          <a:xfrm>
            <a:off x="6407240" y="4021736"/>
            <a:ext cx="1865786" cy="20204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5FCB53AA-6BFD-342E-CE53-282CBE00B9C3}"/>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405187" y="1627347"/>
            <a:ext cx="1863217" cy="18381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903B4ABF-B441-1F98-8475-ADC2F5108218}"/>
              </a:ext>
            </a:extLst>
          </p:cNvPr>
          <p:cNvSpPr txBox="1"/>
          <p:nvPr/>
        </p:nvSpPr>
        <p:spPr>
          <a:xfrm>
            <a:off x="735110" y="217768"/>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sp>
        <p:nvSpPr>
          <p:cNvPr id="5" name="TextBox 4">
            <a:extLst>
              <a:ext uri="{FF2B5EF4-FFF2-40B4-BE49-F238E27FC236}">
                <a16:creationId xmlns:a16="http://schemas.microsoft.com/office/drawing/2014/main" id="{C2599812-EB40-ACB8-B7E9-854982AAC6B7}"/>
              </a:ext>
            </a:extLst>
          </p:cNvPr>
          <p:cNvSpPr txBox="1"/>
          <p:nvPr/>
        </p:nvSpPr>
        <p:spPr>
          <a:xfrm>
            <a:off x="1715152" y="756068"/>
            <a:ext cx="6796060"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Xuấ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hập</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khẩu</a:t>
            </a:r>
            <a:endParaRPr lang="vi-VN" sz="24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140C7B0-05C1-C164-779C-CE0FEAAA409A}"/>
              </a:ext>
            </a:extLst>
          </p:cNvPr>
          <p:cNvSpPr txBox="1"/>
          <p:nvPr/>
        </p:nvSpPr>
        <p:spPr>
          <a:xfrm>
            <a:off x="684111" y="724061"/>
            <a:ext cx="3075487" cy="461665"/>
          </a:xfrm>
          <a:prstGeom prst="rect">
            <a:avLst/>
          </a:prstGeom>
          <a:noFill/>
        </p:spPr>
        <p:txBody>
          <a:bodyPr wrap="square">
            <a:spAutoFit/>
          </a:bodyPr>
          <a:lstStyle/>
          <a:p>
            <a:pPr>
              <a:lnSpc>
                <a:spcPct val="100000"/>
              </a:lnSpc>
            </a:pPr>
            <a:r>
              <a:rPr lang="en-US" sz="2400" b="1" spc="-20" dirty="0">
                <a:solidFill>
                  <a:srgbClr val="100717"/>
                </a:solidFill>
                <a:latin typeface="Times New Roman" panose="02020603050405020304" pitchFamily="18" charset="0"/>
                <a:cs typeface="Times New Roman" panose="02020603050405020304" pitchFamily="18" charset="0"/>
              </a:rPr>
              <a:t>b) </a:t>
            </a:r>
            <a:r>
              <a:rPr lang="en-US" sz="2400" b="1" spc="-20" dirty="0" err="1">
                <a:solidFill>
                  <a:srgbClr val="100717"/>
                </a:solidFill>
                <a:latin typeface="Times New Roman" panose="02020603050405020304" pitchFamily="18" charset="0"/>
                <a:cs typeface="Times New Roman" panose="02020603050405020304" pitchFamily="18" charset="0"/>
              </a:rPr>
              <a:t>Xuấ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khẩu</a:t>
            </a:r>
            <a:endParaRPr lang="vi-VN" sz="2400" b="1" dirty="0">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FF75C5B9-FA20-47F5-0041-B54776507D44}"/>
              </a:ext>
            </a:extLst>
          </p:cNvPr>
          <p:cNvGraphicFramePr>
            <a:graphicFrameLocks noGrp="1"/>
          </p:cNvGraphicFramePr>
          <p:nvPr>
            <p:extLst>
              <p:ext uri="{D42A27DB-BD31-4B8C-83A1-F6EECF244321}">
                <p14:modId xmlns:p14="http://schemas.microsoft.com/office/powerpoint/2010/main" val="2407505173"/>
              </p:ext>
            </p:extLst>
          </p:nvPr>
        </p:nvGraphicFramePr>
        <p:xfrm>
          <a:off x="384321" y="1609724"/>
          <a:ext cx="5397353" cy="2590800"/>
        </p:xfrm>
        <a:graphic>
          <a:graphicData uri="http://schemas.openxmlformats.org/drawingml/2006/table">
            <a:tbl>
              <a:tblPr firstRow="1" bandRow="1"/>
              <a:tblGrid>
                <a:gridCol w="5397353">
                  <a:extLst>
                    <a:ext uri="{9D8B030D-6E8A-4147-A177-3AD203B41FA5}">
                      <a16:colId xmlns:a16="http://schemas.microsoft.com/office/drawing/2014/main" val="3655493598"/>
                    </a:ext>
                  </a:extLst>
                </a:gridCol>
              </a:tblGrid>
              <a:tr h="206866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dirty="0">
                          <a:solidFill>
                            <a:schemeClr val="dk1"/>
                          </a:solidFill>
                          <a:effectLst/>
                          <a:latin typeface="Times New Roman" panose="02020603050405020304" pitchFamily="18" charset="0"/>
                          <a:ea typeface="+mn-ea"/>
                          <a:cs typeface="Times New Roman" panose="02020603050405020304" pitchFamily="18" charset="0"/>
                        </a:rPr>
                        <a:t>Hoạt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ộng xuất khẩu tiếp tục đối mặt với nhiều, </a:t>
                      </a:r>
                      <a:r>
                        <a:rPr lang="vi-VN" sz="2000" b="0" kern="1200">
                          <a:solidFill>
                            <a:schemeClr val="dk1"/>
                          </a:solidFill>
                          <a:effectLst/>
                          <a:latin typeface="Times New Roman" panose="02020603050405020304" pitchFamily="18" charset="0"/>
                          <a:ea typeface="+mn-ea"/>
                          <a:cs typeface="Times New Roman" panose="02020603050405020304" pitchFamily="18" charset="0"/>
                        </a:rPr>
                        <a:t>giá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rị xuất khẩu </a:t>
                      </a:r>
                      <a:r>
                        <a:rPr lang="vi-VN" sz="2000" b="0" kern="1200">
                          <a:solidFill>
                            <a:schemeClr val="dk1"/>
                          </a:solidFill>
                          <a:effectLst/>
                          <a:latin typeface="Times New Roman" panose="02020603050405020304" pitchFamily="18" charset="0"/>
                          <a:ea typeface="+mn-ea"/>
                          <a:cs typeface="Times New Roman" panose="02020603050405020304" pitchFamily="18" charset="0"/>
                        </a:rPr>
                        <a:t>giảm 13%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Các nhóm hàng tăng so với cùng kỳ: Sắn và sản phẩm từ sắn </a:t>
                      </a:r>
                      <a:r>
                        <a:rPr lang="en-US" sz="2000" b="0" kern="1200">
                          <a:solidFill>
                            <a:schemeClr val="dk1"/>
                          </a:solidFill>
                          <a:effectLst/>
                          <a:latin typeface="Times New Roman" panose="02020603050405020304" pitchFamily="18" charset="0"/>
                          <a:ea typeface="+mn-ea"/>
                          <a:cs typeface="Times New Roman" panose="02020603050405020304" pitchFamily="18" charset="0"/>
                        </a:rPr>
                        <a:t>tăng 34,1%; </a:t>
                      </a:r>
                      <a:r>
                        <a:rPr lang="vi-VN" sz="2000" b="0" kern="1200">
                          <a:solidFill>
                            <a:schemeClr val="dk1"/>
                          </a:solidFill>
                          <a:effectLst/>
                          <a:latin typeface="Times New Roman" panose="02020603050405020304" pitchFamily="18" charset="0"/>
                          <a:ea typeface="+mn-ea"/>
                          <a:cs typeface="Times New Roman" panose="02020603050405020304" pitchFamily="18" charset="0"/>
                        </a:rPr>
                        <a:t>Gạo tăng 14,2%; </a:t>
                      </a:r>
                      <a:r>
                        <a:rPr lang="en-US" sz="2000" b="0" kern="1200">
                          <a:solidFill>
                            <a:schemeClr val="dk1"/>
                          </a:solidFill>
                          <a:effectLst/>
                          <a:latin typeface="Times New Roman" panose="02020603050405020304" pitchFamily="18" charset="0"/>
                          <a:ea typeface="+mn-ea"/>
                          <a:cs typeface="Times New Roman" panose="02020603050405020304" pitchFamily="18" charset="0"/>
                        </a:rPr>
                        <a:t>h</a:t>
                      </a:r>
                      <a:r>
                        <a:rPr lang="vi-VN" sz="2000" b="0" kern="1200">
                          <a:solidFill>
                            <a:schemeClr val="dk1"/>
                          </a:solidFill>
                          <a:effectLst/>
                          <a:latin typeface="Times New Roman" panose="02020603050405020304" pitchFamily="18" charset="0"/>
                          <a:ea typeface="+mn-ea"/>
                          <a:cs typeface="Times New Roman" panose="02020603050405020304" pitchFamily="18" charset="0"/>
                        </a:rPr>
                        <a:t>àng dệt may </a:t>
                      </a:r>
                      <a:r>
                        <a:rPr lang="en-US" sz="2000" b="0" kern="1200">
                          <a:solidFill>
                            <a:schemeClr val="dk1"/>
                          </a:solidFill>
                          <a:effectLst/>
                          <a:latin typeface="Times New Roman" panose="02020603050405020304" pitchFamily="18" charset="0"/>
                          <a:ea typeface="+mn-ea"/>
                          <a:cs typeface="Times New Roman" panose="02020603050405020304" pitchFamily="18" charset="0"/>
                        </a:rPr>
                        <a:t>tăng 9,</a:t>
                      </a:r>
                      <a:r>
                        <a:rPr lang="vi-VN" sz="2000" b="0" kern="1200">
                          <a:solidFill>
                            <a:schemeClr val="dk1"/>
                          </a:solidFill>
                          <a:effectLst/>
                          <a:latin typeface="Times New Roman" panose="02020603050405020304" pitchFamily="18" charset="0"/>
                          <a:ea typeface="+mn-ea"/>
                          <a:cs typeface="Times New Roman" panose="02020603050405020304" pitchFamily="18" charset="0"/>
                        </a:rPr>
                        <a:t>2%</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gỗ </a:t>
                      </a:r>
                      <a:r>
                        <a:rPr lang="en-US" sz="2000" b="0" kern="1200">
                          <a:solidFill>
                            <a:schemeClr val="dk1"/>
                          </a:solidFill>
                          <a:effectLst/>
                          <a:latin typeface="Times New Roman" panose="02020603050405020304" pitchFamily="18" charset="0"/>
                          <a:ea typeface="+mn-ea"/>
                          <a:cs typeface="Times New Roman" panose="02020603050405020304" pitchFamily="18" charset="0"/>
                        </a:rPr>
                        <a:t>tăng 1,73%</a:t>
                      </a:r>
                      <a:r>
                        <a:rPr lang="vi-VN" sz="2000" b="0" kern="1200">
                          <a:solidFill>
                            <a:schemeClr val="dk1"/>
                          </a:solidFill>
                          <a:effectLst/>
                          <a:latin typeface="Times New Roman" panose="02020603050405020304" pitchFamily="18" charset="0"/>
                          <a:ea typeface="+mn-ea"/>
                          <a:cs typeface="Times New Roman" panose="02020603050405020304" pitchFamily="18" charset="0"/>
                        </a:rPr>
                        <a:t>... so </a:t>
                      </a:r>
                      <a:r>
                        <a:rPr lang="en-US" sz="2000" b="0" kern="1200">
                          <a:solidFill>
                            <a:schemeClr val="dk1"/>
                          </a:solidFill>
                          <a:effectLst/>
                          <a:latin typeface="Times New Roman" panose="02020603050405020304" pitchFamily="18" charset="0"/>
                          <a:ea typeface="+mn-ea"/>
                          <a:cs typeface="Times New Roman" panose="02020603050405020304" pitchFamily="18" charset="0"/>
                        </a:rPr>
                        <a:t>với cùng kỳ </a:t>
                      </a:r>
                      <a:r>
                        <a:rPr lang="vi-VN" sz="1800" b="1" kern="1200">
                          <a:solidFill>
                            <a:schemeClr val="lt1"/>
                          </a:solidFill>
                          <a:effectLst/>
                          <a:latin typeface="Calibri"/>
                          <a:ea typeface="+mn-ea"/>
                          <a:cs typeface="+mn-cs"/>
                        </a:rPr>
                        <a:t>cùng kỳ</a:t>
                      </a:r>
                      <a:r>
                        <a:rPr lang="en-US" sz="1800" b="1" kern="1200">
                          <a:solidFill>
                            <a:schemeClr val="lt1"/>
                          </a:solidFill>
                          <a:effectLst/>
                          <a:latin typeface="Calibri"/>
                          <a:ea typeface="+mn-ea"/>
                          <a:cs typeface="+mn-cs"/>
                        </a:rPr>
                        <a:t>...</a:t>
                      </a:r>
                      <a:r>
                        <a:rPr lang="en-US" sz="1800" b="0" kern="1200">
                          <a:solidFill>
                            <a:schemeClr val="lt1"/>
                          </a:solidFill>
                          <a:effectLst/>
                          <a:latin typeface="Calibri"/>
                          <a:ea typeface="+mn-ea"/>
                          <a:cs typeface="+mn-cs"/>
                        </a:rPr>
                        <a:t> </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3641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6" name="Picture 5" descr="A paper with numbers and a black and white text&#10;&#10;Description automatically generated">
            <a:extLst>
              <a:ext uri="{FF2B5EF4-FFF2-40B4-BE49-F238E27FC236}">
                <a16:creationId xmlns:a16="http://schemas.microsoft.com/office/drawing/2014/main" id="{15CC7270-2BB6-4EC9-A3B1-198A454CE6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10328" y="344908"/>
            <a:ext cx="5464029" cy="6320144"/>
          </a:xfrm>
          <a:prstGeom prst="rect">
            <a:avLst/>
          </a:prstGeom>
        </p:spPr>
      </p:pic>
    </p:spTree>
    <p:extLst>
      <p:ext uri="{BB962C8B-B14F-4D97-AF65-F5344CB8AC3E}">
        <p14:creationId xmlns:p14="http://schemas.microsoft.com/office/powerpoint/2010/main" val="12588874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a:t>
            </a:r>
            <a:r>
              <a:rPr lang="en-US" sz="2800" b="1" spc="-20" dirty="0">
                <a:solidFill>
                  <a:srgbClr val="100717"/>
                </a:solidFill>
                <a:latin typeface="Times New Roman" panose="02020603050405020304" pitchFamily="18" charset="0"/>
                <a:cs typeface="Times New Roman" panose="02020603050405020304" pitchFamily="18" charset="0"/>
              </a:rPr>
              <a:t>Du </a:t>
            </a:r>
            <a:r>
              <a:rPr lang="en-US" sz="2800" b="1" spc="-20" dirty="0" err="1">
                <a:solidFill>
                  <a:srgbClr val="100717"/>
                </a:solidFill>
                <a:latin typeface="Times New Roman" panose="02020603050405020304" pitchFamily="18" charset="0"/>
                <a:cs typeface="Times New Roman" panose="02020603050405020304" pitchFamily="18" charset="0"/>
              </a:rPr>
              <a:t>lịch</a:t>
            </a:r>
            <a:endParaRPr lang="en-US" sz="2800" b="1" spc="-20" dirty="0">
              <a:solidFill>
                <a:srgbClr val="100717"/>
              </a:solidFill>
              <a:latin typeface="Times New Roman" panose="02020603050405020304" pitchFamily="18" charset="0"/>
              <a:cs typeface="Times New Roman" panose="02020603050405020304" pitchFamily="18" charset="0"/>
            </a:endParaRPr>
          </a:p>
        </p:txBody>
      </p:sp>
      <p:pic>
        <p:nvPicPr>
          <p:cNvPr id="14" name="Picture 13" descr="A crowd of people in a stadium&#10;&#10;Description automatically generated with low confidence">
            <a:extLst>
              <a:ext uri="{FF2B5EF4-FFF2-40B4-BE49-F238E27FC236}">
                <a16:creationId xmlns:a16="http://schemas.microsoft.com/office/drawing/2014/main" id="{590A3D13-B1C7-D1CF-5F2E-1F4ED31084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7419" y="3697539"/>
            <a:ext cx="4712725" cy="2885638"/>
          </a:xfrm>
          <a:prstGeom prst="rect">
            <a:avLst/>
          </a:prstGeom>
        </p:spPr>
      </p:pic>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3885885685"/>
              </p:ext>
            </p:extLst>
          </p:nvPr>
        </p:nvGraphicFramePr>
        <p:xfrm>
          <a:off x="486561" y="1154329"/>
          <a:ext cx="6418646" cy="4640781"/>
        </p:xfrm>
        <a:graphic>
          <a:graphicData uri="http://schemas.openxmlformats.org/drawingml/2006/table">
            <a:tbl>
              <a:tblPr firstRow="1" bandRow="1"/>
              <a:tblGrid>
                <a:gridCol w="6418646">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Ước 7 tháng năm 2023, ngành </a:t>
                      </a:r>
                      <a:r>
                        <a:rPr lang="vi-VN" sz="1800" b="0" kern="1200">
                          <a:solidFill>
                            <a:schemeClr val="dk1"/>
                          </a:solidFill>
                          <a:effectLst/>
                          <a:latin typeface="Times New Roman" panose="02020603050405020304" pitchFamily="18" charset="0"/>
                          <a:ea typeface="+mn-ea"/>
                          <a:cs typeface="Times New Roman" panose="02020603050405020304" pitchFamily="18" charset="0"/>
                        </a:rPr>
                        <a:t>d</a:t>
                      </a:r>
                      <a:r>
                        <a:rPr lang="en-US" sz="1800" b="0" kern="1200">
                          <a:solidFill>
                            <a:schemeClr val="dk1"/>
                          </a:solidFill>
                          <a:effectLst/>
                          <a:latin typeface="Times New Roman" panose="02020603050405020304" pitchFamily="18" charset="0"/>
                          <a:ea typeface="+mn-ea"/>
                          <a:cs typeface="Times New Roman" panose="02020603050405020304" pitchFamily="18" charset="0"/>
                        </a:rPr>
                        <a:t>u lịch ước đón được trên 3,37 triệu lượt khách, tăng 20,1%; doanh thu du lịch đạt 10.727 tỷ đồng, tăng 25,2% so với cùng kỳ</a:t>
                      </a: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Đã </a:t>
                      </a:r>
                      <a:r>
                        <a:rPr lang="es-ES" sz="1800" b="0" kern="1200">
                          <a:solidFill>
                            <a:schemeClr val="dk1"/>
                          </a:solidFill>
                          <a:effectLst/>
                          <a:latin typeface="Times New Roman" panose="02020603050405020304" pitchFamily="18" charset="0"/>
                          <a:ea typeface="+mn-ea"/>
                          <a:cs typeface="Times New Roman" panose="02020603050405020304" pitchFamily="18" charset="0"/>
                        </a:rPr>
                        <a:t>tổ chức thành công chương trình Famtrip - Hội nghị liên kết, hợp tác và kích cầu phát triển du lịch năm 2023 trong 02 ngày (từ ngày 18/7 - 19/7/2023) với 300 đại biểu là các Sở Du lịch, Hiệp hội Du lịch, doanh nghiệp kinh doanh du lịch các tỉnh, thành phố: Bình Định, Kiên Giang, Bà Rịa - Vũng Tàu; Khánh Hòa, TP Đà Nẵng; TP Hồ Chí Minh và các doanh nghiệp Hàn Quốc, qua đó góp phần thu hút ngày càng nhiều du khách đến với Bình Định nói riêng và các tỉnh, thành phố khu vực phía Nam nói chung</a:t>
                      </a: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ỉnh cũng đã tổ chức nhiều sự kiện thu hút khách du lịch như: Sự kiện “Gặp gỡ Nhật Bản - Bình Định”; Chung kết Hoa hậu Thế giới Việt Nam năm 2023 tại Quy Nhơn...</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4" name="Picture 3" descr="A group of men in suits at a convention&#10;&#10;Description automatically generated">
            <a:extLst>
              <a:ext uri="{FF2B5EF4-FFF2-40B4-BE49-F238E27FC236}">
                <a16:creationId xmlns:a16="http://schemas.microsoft.com/office/drawing/2014/main" id="{6E28E8D7-FF9D-2CCA-8A09-784BF27324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19" y="568899"/>
            <a:ext cx="4622285" cy="2983926"/>
          </a:xfrm>
          <a:prstGeom prst="rect">
            <a:avLst/>
          </a:pr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801,1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54,9%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5,9%</a:t>
            </a:r>
            <a:endParaRPr lang="en-US" sz="2400" b="1" dirty="0">
              <a:solidFill>
                <a:srgbClr val="C00000"/>
              </a:solidFill>
              <a:latin typeface="Times New Roman" panose="02020603050405020304" pitchFamily="18" charset="0"/>
              <a:cs typeface="Times New Roman" panose="02020603050405020304" pitchFamily="18" charset="0"/>
            </a:endParaRP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441510" y="3077662"/>
            <a:ext cx="4893897"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1.815,9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33%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54,5%</a:t>
            </a:r>
            <a:endParaRPr lang="en-US" sz="2400" b="1" dirty="0">
              <a:solidFill>
                <a:srgbClr val="C00000"/>
              </a:solidFill>
              <a:latin typeface="Times New Roman" panose="02020603050405020304" pitchFamily="18" charset="0"/>
              <a:cs typeface="Times New Roman" panose="02020603050405020304" pitchFamily="18" charset="0"/>
            </a:endParaRPr>
          </a:p>
        </p:txBody>
      </p:sp>
      <p:sp>
        <p:nvSpPr>
          <p:cNvPr id="730" name="Arrow: Down 59">
            <a:extLst>
              <a:ext uri="{FF2B5EF4-FFF2-40B4-BE49-F238E27FC236}">
                <a16:creationId xmlns:a16="http://schemas.microsoft.com/office/drawing/2014/main"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6.036,2 tỷ </a:t>
            </a:r>
            <a:r>
              <a:rPr lang="en-US" sz="2200" b="1" dirty="0" err="1">
                <a:solidFill>
                  <a:srgbClr val="C00000"/>
                </a:solidFill>
                <a:latin typeface="Times New Roman" panose="02020603050405020304" pitchFamily="18" charset="0"/>
                <a:cs typeface="Times New Roman" panose="02020603050405020304" pitchFamily="18" charset="0"/>
              </a:rPr>
              <a:t>đồng</a:t>
            </a:r>
            <a:r>
              <a:rPr lang="en-US" sz="2200" b="1" dirty="0">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44,2% </a:t>
            </a:r>
            <a:r>
              <a:rPr lang="en-US" b="1" dirty="0" err="1">
                <a:solidFill>
                  <a:srgbClr val="C00000"/>
                </a:solidFill>
                <a:latin typeface="Times New Roman" panose="02020603050405020304" pitchFamily="18" charset="0"/>
                <a:cs typeface="Times New Roman" panose="02020603050405020304" pitchFamily="18" charset="0"/>
              </a:rPr>
              <a:t>dự</a:t>
            </a:r>
            <a:r>
              <a:rPr lang="en-US" b="1" dirty="0">
                <a:solidFill>
                  <a:srgbClr val="C00000"/>
                </a:solidFill>
                <a:latin typeface="Times New Roman" panose="02020603050405020304" pitchFamily="18" charset="0"/>
                <a:cs typeface="Times New Roman" panose="02020603050405020304" pitchFamily="18" charset="0"/>
              </a:rPr>
              <a:t> </a:t>
            </a:r>
            <a:r>
              <a:rPr lang="en-US" b="1" dirty="0" err="1">
                <a:solidFill>
                  <a:srgbClr val="C00000"/>
                </a:solidFill>
                <a:latin typeface="Times New Roman" panose="02020603050405020304" pitchFamily="18" charset="0"/>
                <a:cs typeface="Times New Roman" panose="02020603050405020304" pitchFamily="18" charset="0"/>
              </a:rPr>
              <a:t>toán</a:t>
            </a:r>
            <a:endParaRPr lang="en-US" b="1" dirty="0">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31%</a:t>
            </a:r>
            <a:endParaRPr lang="en-US" b="1" dirty="0">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1597810" y="3028982"/>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250,1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25%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60,5%</a:t>
            </a:r>
            <a:endParaRPr lang="en-US" sz="2400" b="1" dirty="0">
              <a:solidFill>
                <a:srgbClr val="C00000"/>
              </a:solidFill>
              <a:latin typeface="Times New Roman" panose="02020603050405020304" pitchFamily="18" charset="0"/>
              <a:cs typeface="Times New Roman" panose="02020603050405020304" pitchFamily="18" charset="0"/>
            </a:endParaRP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dirty="0" err="1">
                <a:solidFill>
                  <a:srgbClr val="002060"/>
                </a:solidFill>
                <a:latin typeface="Times New Roman" panose="02020603050405020304" pitchFamily="18" charset="0"/>
                <a:cs typeface="Times New Roman" panose="02020603050405020304" pitchFamily="18" charset="0"/>
              </a:rPr>
              <a:t>Tổng</a:t>
            </a:r>
            <a:r>
              <a:rPr lang="en-US" sz="2400" b="1" dirty="0">
                <a:solidFill>
                  <a:srgbClr val="002060"/>
                </a:solidFill>
                <a:latin typeface="Times New Roman" panose="02020603050405020304" pitchFamily="18" charset="0"/>
                <a:cs typeface="Times New Roman" panose="02020603050405020304" pitchFamily="18" charset="0"/>
              </a:rPr>
              <a:t> chi </a:t>
            </a:r>
            <a:r>
              <a:rPr lang="en-US" sz="2400" b="1" dirty="0" err="1">
                <a:solidFill>
                  <a:srgbClr val="002060"/>
                </a:solidFill>
                <a:latin typeface="Times New Roman" panose="02020603050405020304" pitchFamily="18" charset="0"/>
                <a:cs typeface="Times New Roman" panose="02020603050405020304" pitchFamily="18" charset="0"/>
              </a:rPr>
              <a:t>ngân</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sách</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hà</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0.325,6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48,2%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12%</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dirty="0">
                <a:solidFill>
                  <a:srgbClr val="002060"/>
                </a:solidFill>
                <a:latin typeface="Times New Roman" panose="02020603050405020304" pitchFamily="18" charset="0"/>
                <a:cs typeface="Times New Roman" panose="02020603050405020304" pitchFamily="18" charset="0"/>
              </a:rPr>
              <a:t> </a:t>
            </a:r>
          </a:p>
        </p:txBody>
      </p:sp>
      <p:sp>
        <p:nvSpPr>
          <p:cNvPr id="27" name="Rectangle 26">
            <a:extLst>
              <a:ext uri="{FF2B5EF4-FFF2-40B4-BE49-F238E27FC236}">
                <a16:creationId xmlns:a16="http://schemas.microsoft.com/office/drawing/2014/main" id="{01DC26C3-E6F4-C27A-8624-3A65D81B6008}"/>
              </a:ext>
            </a:extLst>
          </p:cNvPr>
          <p:cNvSpPr/>
          <p:nvPr/>
        </p:nvSpPr>
        <p:spPr>
          <a:xfrm>
            <a:off x="1166275" y="413377"/>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dirty="0" err="1">
                <a:solidFill>
                  <a:srgbClr val="100717"/>
                </a:solidFill>
                <a:latin typeface="Times New Roman" panose="02020603050405020304" pitchFamily="18" charset="0"/>
                <a:cs typeface="Times New Roman" panose="02020603050405020304" pitchFamily="18" charset="0"/>
              </a:rPr>
              <a:t>Tà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8" name="Arrow: Down 59">
            <a:extLst>
              <a:ext uri="{FF2B5EF4-FFF2-40B4-BE49-F238E27FC236}">
                <a16:creationId xmlns:a16="http://schemas.microsoft.com/office/drawing/2014/main" id="{B8FB4290-57FC-2558-7A55-FDD4B3AD5084}"/>
              </a:ext>
            </a:extLst>
          </p:cNvPr>
          <p:cNvSpPr/>
          <p:nvPr/>
        </p:nvSpPr>
        <p:spPr>
          <a:xfrm>
            <a:off x="8632064" y="201740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9" name="Arrow: Down 59">
            <a:extLst>
              <a:ext uri="{FF2B5EF4-FFF2-40B4-BE49-F238E27FC236}">
                <a16:creationId xmlns:a16="http://schemas.microsoft.com/office/drawing/2014/main" id="{DC9728D2-9FA3-9BE1-84A8-EE573067CDA5}"/>
              </a:ext>
            </a:extLst>
          </p:cNvPr>
          <p:cNvSpPr/>
          <p:nvPr/>
        </p:nvSpPr>
        <p:spPr>
          <a:xfrm>
            <a:off x="8166892" y="507593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0" name="Arrow: Down 59">
            <a:extLst>
              <a:ext uri="{FF2B5EF4-FFF2-40B4-BE49-F238E27FC236}">
                <a16:creationId xmlns:a16="http://schemas.microsoft.com/office/drawing/2014/main" id="{1E41EBCE-1ACE-56B8-F489-0F5C63BC1FBF}"/>
              </a:ext>
            </a:extLst>
          </p:cNvPr>
          <p:cNvSpPr/>
          <p:nvPr/>
        </p:nvSpPr>
        <p:spPr>
          <a:xfrm rot="10800000">
            <a:off x="10546656" y="601674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236789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22359E8A-8D97-394A-42E1-F5A568F7E097}"/>
              </a:ext>
            </a:extLst>
          </p:cNvPr>
          <p:cNvSpPr txBox="1"/>
          <p:nvPr/>
        </p:nvSpPr>
        <p:spPr>
          <a:xfrm>
            <a:off x="3421090" y="245597"/>
            <a:ext cx="8506790" cy="523220"/>
          </a:xfrm>
          <a:prstGeom prst="rect">
            <a:avLst/>
          </a:prstGeom>
          <a:noFill/>
        </p:spPr>
        <p:txBody>
          <a:bodyPr wrap="square">
            <a:spAutoFit/>
          </a:bodyPr>
          <a:lstStyle/>
          <a:p>
            <a:r>
              <a:rPr lang="de-DE" sz="2800" b="1" dirty="0">
                <a:latin typeface="Times New Roman" panose="02020603050405020304" pitchFamily="18" charset="0"/>
                <a:cs typeface="Times New Roman" panose="02020603050405020304" pitchFamily="18" charset="0"/>
              </a:rPr>
              <a:t>Thu ngân sách </a:t>
            </a:r>
            <a:r>
              <a:rPr lang="vi-VN" sz="2800" b="1" dirty="0">
                <a:latin typeface="Times New Roman" panose="02020603050405020304" pitchFamily="18" charset="0"/>
                <a:cs typeface="Times New Roman" panose="02020603050405020304" pitchFamily="18" charset="0"/>
              </a:rPr>
              <a:t>các huyện, thị xã, thành phố</a:t>
            </a:r>
            <a:endParaRPr lang="en-US" sz="2800" b="1" kern="0" spc="-10" dirty="0">
              <a:solidFill>
                <a:prstClr val="black"/>
              </a:solidFill>
              <a:ea typeface="Times New Roman" panose="02020603050405020304" pitchFamily="18" charset="0"/>
            </a:endParaRPr>
          </a:p>
        </p:txBody>
      </p:sp>
      <p:graphicFrame>
        <p:nvGraphicFramePr>
          <p:cNvPr id="2" name="Object 1">
            <a:extLst>
              <a:ext uri="{FF2B5EF4-FFF2-40B4-BE49-F238E27FC236}">
                <a16:creationId xmlns:a16="http://schemas.microsoft.com/office/drawing/2014/main" id="{1666E474-47C7-C5E7-32B4-FE87B9754926}"/>
              </a:ext>
            </a:extLst>
          </p:cNvPr>
          <p:cNvGraphicFramePr>
            <a:graphicFrameLocks noChangeAspect="1"/>
          </p:cNvGraphicFramePr>
          <p:nvPr>
            <p:extLst>
              <p:ext uri="{D42A27DB-BD31-4B8C-83A1-F6EECF244321}">
                <p14:modId xmlns:p14="http://schemas.microsoft.com/office/powerpoint/2010/main" val="2709569258"/>
              </p:ext>
            </p:extLst>
          </p:nvPr>
        </p:nvGraphicFramePr>
        <p:xfrm>
          <a:off x="780175" y="1224628"/>
          <a:ext cx="10840999" cy="5310396"/>
        </p:xfrm>
        <a:graphic>
          <a:graphicData uri="http://schemas.openxmlformats.org/presentationml/2006/ole">
            <mc:AlternateContent xmlns:mc="http://schemas.openxmlformats.org/markup-compatibility/2006">
              <mc:Choice xmlns:v="urn:schemas-microsoft-com:vml" Requires="v">
                <p:oleObj name="Worksheet" r:id="rId2" imgW="12306240" imgH="6029405" progId="Excel.Sheet.12">
                  <p:embed/>
                </p:oleObj>
              </mc:Choice>
              <mc:Fallback>
                <p:oleObj name="Worksheet" r:id="rId2" imgW="12306240" imgH="6029405" progId="Excel.Sheet.12">
                  <p:embed/>
                  <p:pic>
                    <p:nvPicPr>
                      <p:cNvPr id="2" name="Object 1">
                        <a:extLst>
                          <a:ext uri="{FF2B5EF4-FFF2-40B4-BE49-F238E27FC236}">
                            <a16:creationId xmlns:a16="http://schemas.microsoft.com/office/drawing/2014/main" id="{1666E474-47C7-C5E7-32B4-FE87B9754926}"/>
                          </a:ext>
                        </a:extLst>
                      </p:cNvPr>
                      <p:cNvPicPr/>
                      <p:nvPr/>
                    </p:nvPicPr>
                    <p:blipFill>
                      <a:blip r:embed="rId3"/>
                      <a:stretch>
                        <a:fillRect/>
                      </a:stretch>
                    </p:blipFill>
                    <p:spPr>
                      <a:xfrm>
                        <a:off x="780175" y="1224628"/>
                        <a:ext cx="10840999" cy="5310396"/>
                      </a:xfrm>
                      <a:prstGeom prst="rect">
                        <a:avLst/>
                      </a:prstGeom>
                    </p:spPr>
                  </p:pic>
                </p:oleObj>
              </mc:Fallback>
            </mc:AlternateContent>
          </a:graphicData>
        </a:graphic>
      </p:graphicFrame>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3520891704"/>
              </p:ext>
            </p:extLst>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dirty="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514790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7 VÀ 7 THÁNG NĂM 2023</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6515184"/>
              </p:ext>
            </p:extLst>
          </p:nvPr>
        </p:nvGraphicFramePr>
        <p:xfrm>
          <a:off x="435761" y="1417095"/>
          <a:ext cx="7011105" cy="2590800"/>
        </p:xfrm>
        <a:graphic>
          <a:graphicData uri="http://schemas.openxmlformats.org/drawingml/2006/table">
            <a:tbl>
              <a:tblPr firstRow="1" bandRow="1"/>
              <a:tblGrid>
                <a:gridCol w="701110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it-IT"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endPar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UBND tỉnh đã </a:t>
                      </a:r>
                      <a:r>
                        <a:rPr lang="vi-VN"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ành lập các Tổ </a:t>
                      </a:r>
                      <a:r>
                        <a:rPr lang="vi-VN" sz="2400" kern="1200" spc="-10">
                          <a:solidFill>
                            <a:prstClr val="black"/>
                          </a:solidFill>
                          <a:latin typeface="Times New Roman" panose="02020603050405020304" pitchFamily="18" charset="0"/>
                          <a:ea typeface="+mn-ea"/>
                          <a:cs typeface="Times New Roman" panose="02020603050405020304" pitchFamily="18" charset="0"/>
                        </a:rPr>
                        <a:t>công tác kiểm tra, đôn đốc, tháo gỡ khó khăn, vướng mắc, hỗ trợ đẩy mạnh giải ngân vốn đầu tư công năm 2023</a:t>
                      </a:r>
                      <a:endParaRPr lang="vi-VN"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Tỷ lệ</a:t>
                      </a:r>
                      <a:r>
                        <a:rPr lang="vi-VN" sz="2400" kern="1200" spc="-10">
                          <a:solidFill>
                            <a:prstClr val="black"/>
                          </a:solidFill>
                          <a:latin typeface="Times New Roman" panose="02020603050405020304" pitchFamily="18" charset="0"/>
                          <a:ea typeface="+mn-ea"/>
                          <a:cs typeface="Times New Roman" panose="02020603050405020304" pitchFamily="18" charset="0"/>
                        </a:rPr>
                        <a:t> giải ngân vốn đầu tư công đạt </a:t>
                      </a:r>
                      <a:r>
                        <a:rPr lang="en-US" sz="2400" kern="1200" spc="-10">
                          <a:solidFill>
                            <a:prstClr val="black"/>
                          </a:solidFill>
                          <a:latin typeface="Times New Roman" panose="02020603050405020304" pitchFamily="18" charset="0"/>
                          <a:ea typeface="+mn-ea"/>
                          <a:cs typeface="Times New Roman" panose="02020603050405020304" pitchFamily="18" charset="0"/>
                        </a:rPr>
                        <a:t>4</a:t>
                      </a:r>
                      <a:r>
                        <a:rPr lang="vi-VN" sz="2400" kern="1200" spc="-10">
                          <a:solidFill>
                            <a:prstClr val="black"/>
                          </a:solidFill>
                          <a:latin typeface="Times New Roman" panose="02020603050405020304" pitchFamily="18" charset="0"/>
                          <a:ea typeface="+mn-ea"/>
                          <a:cs typeface="Times New Roman" panose="02020603050405020304" pitchFamily="18" charset="0"/>
                        </a:rPr>
                        <a:t>0,</a:t>
                      </a:r>
                      <a:r>
                        <a:rPr lang="en-US" sz="2400" kern="1200" spc="-10">
                          <a:solidFill>
                            <a:prstClr val="black"/>
                          </a:solidFill>
                          <a:latin typeface="Times New Roman" panose="02020603050405020304" pitchFamily="18" charset="0"/>
                          <a:ea typeface="+mn-ea"/>
                          <a:cs typeface="Times New Roman" panose="02020603050405020304" pitchFamily="18" charset="0"/>
                        </a:rPr>
                        <a:t>9%.</a:t>
                      </a:r>
                      <a:endParaRPr lang="vi-VN" sz="24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1072902" y="367660"/>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công</a:t>
            </a:r>
          </a:p>
        </p:txBody>
      </p:sp>
      <p:pic>
        <p:nvPicPr>
          <p:cNvPr id="9" name="Picture 8" descr="A picture containing text, person, people, group&#10;&#10;Description automatically generated">
            <a:extLst>
              <a:ext uri="{FF2B5EF4-FFF2-40B4-BE49-F238E27FC236}">
                <a16:creationId xmlns:a16="http://schemas.microsoft.com/office/drawing/2014/main" id="{CDC37B83-E538-7BDA-9A1E-E09DCFF78A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0464" y="1354173"/>
            <a:ext cx="3915775" cy="2316418"/>
          </a:xfrm>
          <a:prstGeom prst="rect">
            <a:avLst/>
          </a:prstGeom>
        </p:spPr>
      </p:pic>
      <p:pic>
        <p:nvPicPr>
          <p:cNvPr id="4" name="Picture 3" descr="A picture containing outdoor, sky, ground, infrastructure&#10;&#10;Description automatically generated">
            <a:extLst>
              <a:ext uri="{FF2B5EF4-FFF2-40B4-BE49-F238E27FC236}">
                <a16:creationId xmlns:a16="http://schemas.microsoft.com/office/drawing/2014/main" id="{5045E7A8-8A58-D06A-A74A-C57274D70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0464" y="3914601"/>
            <a:ext cx="3915775" cy="2503325"/>
          </a:xfrm>
          <a:prstGeom prst="rect">
            <a:avLst/>
          </a:prstGeom>
        </p:spPr>
      </p:pic>
    </p:spTree>
    <p:extLst>
      <p:ext uri="{BB962C8B-B14F-4D97-AF65-F5344CB8AC3E}">
        <p14:creationId xmlns:p14="http://schemas.microsoft.com/office/powerpoint/2010/main" val="2569991023"/>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76DD756-FB9C-20A4-B9B1-1FEF2C8898FF}"/>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1</a:t>
            </a:fld>
            <a:endParaRPr lang="en-US">
              <a:solidFill>
                <a:prstClr val="black">
                  <a:tint val="75000"/>
                </a:prstClr>
              </a:solidFill>
            </a:endParaRPr>
          </a:p>
        </p:txBody>
      </p:sp>
      <p:sp>
        <p:nvSpPr>
          <p:cNvPr id="6" name="TextBox 5">
            <a:extLst>
              <a:ext uri="{FF2B5EF4-FFF2-40B4-BE49-F238E27FC236}">
                <a16:creationId xmlns:a16="http://schemas.microsoft.com/office/drawing/2014/main" id="{76A791F0-8BA3-9CFF-F03C-87F8A6165FE5}"/>
              </a:ext>
            </a:extLst>
          </p:cNvPr>
          <p:cNvSpPr txBox="1"/>
          <p:nvPr/>
        </p:nvSpPr>
        <p:spPr>
          <a:xfrm>
            <a:off x="888344" y="342493"/>
            <a:ext cx="708958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Giải ngân chung theo nguồn vốn năm 2023</a:t>
            </a:r>
          </a:p>
        </p:txBody>
      </p:sp>
      <p:graphicFrame>
        <p:nvGraphicFramePr>
          <p:cNvPr id="11" name="Content Placeholder 10">
            <a:extLst>
              <a:ext uri="{FF2B5EF4-FFF2-40B4-BE49-F238E27FC236}">
                <a16:creationId xmlns:a16="http://schemas.microsoft.com/office/drawing/2014/main" id="{55221C22-FCE5-1A28-745F-E776846FE0EB}"/>
              </a:ext>
            </a:extLst>
          </p:cNvPr>
          <p:cNvGraphicFramePr>
            <a:graphicFrameLocks noGrp="1"/>
          </p:cNvGraphicFramePr>
          <p:nvPr>
            <p:ph idx="1"/>
            <p:extLst>
              <p:ext uri="{D42A27DB-BD31-4B8C-83A1-F6EECF244321}">
                <p14:modId xmlns:p14="http://schemas.microsoft.com/office/powerpoint/2010/main" val="1643359972"/>
              </p:ext>
            </p:extLst>
          </p:nvPr>
        </p:nvGraphicFramePr>
        <p:xfrm>
          <a:off x="6543413" y="1090613"/>
          <a:ext cx="5217952" cy="50863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Object 11">
            <a:extLst>
              <a:ext uri="{FF2B5EF4-FFF2-40B4-BE49-F238E27FC236}">
                <a16:creationId xmlns:a16="http://schemas.microsoft.com/office/drawing/2014/main" id="{3ED566B1-2BAC-3D8D-CFC1-ADBA07C33438}"/>
              </a:ext>
            </a:extLst>
          </p:cNvPr>
          <p:cNvGraphicFramePr>
            <a:graphicFrameLocks noChangeAspect="1"/>
          </p:cNvGraphicFramePr>
          <p:nvPr>
            <p:extLst>
              <p:ext uri="{D42A27DB-BD31-4B8C-83A1-F6EECF244321}">
                <p14:modId xmlns:p14="http://schemas.microsoft.com/office/powerpoint/2010/main" val="3341192400"/>
              </p:ext>
            </p:extLst>
          </p:nvPr>
        </p:nvGraphicFramePr>
        <p:xfrm>
          <a:off x="430635" y="1162079"/>
          <a:ext cx="5934075" cy="5014884"/>
        </p:xfrm>
        <a:graphic>
          <a:graphicData uri="http://schemas.openxmlformats.org/presentationml/2006/ole">
            <mc:AlternateContent xmlns:mc="http://schemas.openxmlformats.org/markup-compatibility/2006">
              <mc:Choice xmlns:v="urn:schemas-microsoft-com:vml" Requires="v">
                <p:oleObj name="Worksheet" r:id="rId3" imgW="5934240" imgH="4295722" progId="Excel.Sheet.12">
                  <p:embed/>
                </p:oleObj>
              </mc:Choice>
              <mc:Fallback>
                <p:oleObj name="Worksheet" r:id="rId3" imgW="5934240" imgH="4295722" progId="Excel.Sheet.12">
                  <p:embed/>
                  <p:pic>
                    <p:nvPicPr>
                      <p:cNvPr id="12" name="Object 11">
                        <a:extLst>
                          <a:ext uri="{FF2B5EF4-FFF2-40B4-BE49-F238E27FC236}">
                            <a16:creationId xmlns:a16="http://schemas.microsoft.com/office/drawing/2014/main" id="{3ED566B1-2BAC-3D8D-CFC1-ADBA07C33438}"/>
                          </a:ext>
                        </a:extLst>
                      </p:cNvPr>
                      <p:cNvPicPr/>
                      <p:nvPr/>
                    </p:nvPicPr>
                    <p:blipFill>
                      <a:blip r:embed="rId4"/>
                      <a:stretch>
                        <a:fillRect/>
                      </a:stretch>
                    </p:blipFill>
                    <p:spPr>
                      <a:xfrm>
                        <a:off x="430635" y="1162079"/>
                        <a:ext cx="5934075" cy="5014884"/>
                      </a:xfrm>
                      <a:prstGeom prst="rect">
                        <a:avLst/>
                      </a:prstGeom>
                    </p:spPr>
                  </p:pic>
                </p:oleObj>
              </mc:Fallback>
            </mc:AlternateContent>
          </a:graphicData>
        </a:graphic>
      </p:graphicFrame>
    </p:spTree>
    <p:extLst>
      <p:ext uri="{BB962C8B-B14F-4D97-AF65-F5344CB8AC3E}">
        <p14:creationId xmlns:p14="http://schemas.microsoft.com/office/powerpoint/2010/main" val="31368618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1B4B638-D8C9-63CB-0C4C-AF8CBBC88A8B}"/>
              </a:ext>
            </a:extLst>
          </p:cNvPr>
          <p:cNvSpPr txBox="1"/>
          <p:nvPr/>
        </p:nvSpPr>
        <p:spPr>
          <a:xfrm>
            <a:off x="10474852" y="531125"/>
            <a:ext cx="1285595" cy="276999"/>
          </a:xfrm>
          <a:prstGeom prst="rect">
            <a:avLst/>
          </a:prstGeom>
          <a:noFill/>
        </p:spPr>
        <p:txBody>
          <a:bodyPr wrap="square" rtlCol="0">
            <a:spAutoFit/>
          </a:bodyPr>
          <a:lstStyle/>
          <a:p>
            <a:r>
              <a:rPr lang="en-US" sz="1200" b="1" i="1" dirty="0" err="1">
                <a:latin typeface="Times New Roman" panose="02020603050405020304" pitchFamily="18" charset="0"/>
                <a:cs typeface="Times New Roman" panose="02020603050405020304" pitchFamily="18" charset="0"/>
              </a:rPr>
              <a:t>ĐVT</a:t>
            </a:r>
            <a:r>
              <a:rPr lang="en-US" sz="1200" b="1" i="1" dirty="0">
                <a:latin typeface="Times New Roman" panose="02020603050405020304" pitchFamily="18" charset="0"/>
                <a:cs typeface="Times New Roman" panose="02020603050405020304" pitchFamily="18" charset="0"/>
              </a:rPr>
              <a:t>: </a:t>
            </a:r>
            <a:r>
              <a:rPr lang="en-US" sz="1200" b="1" i="1" dirty="0" err="1">
                <a:latin typeface="Times New Roman" panose="02020603050405020304" pitchFamily="18" charset="0"/>
                <a:cs typeface="Times New Roman" panose="02020603050405020304" pitchFamily="18" charset="0"/>
              </a:rPr>
              <a:t>triệu</a:t>
            </a:r>
            <a:r>
              <a:rPr lang="en-US" sz="1200" b="1" i="1" dirty="0">
                <a:latin typeface="Times New Roman" panose="02020603050405020304" pitchFamily="18" charset="0"/>
                <a:cs typeface="Times New Roman" panose="02020603050405020304" pitchFamily="18" charset="0"/>
              </a:rPr>
              <a:t> </a:t>
            </a:r>
            <a:r>
              <a:rPr lang="en-US" sz="1200" b="1" i="1" dirty="0" err="1">
                <a:latin typeface="Times New Roman" panose="02020603050405020304" pitchFamily="18" charset="0"/>
                <a:cs typeface="Times New Roman" panose="02020603050405020304" pitchFamily="18" charset="0"/>
              </a:rPr>
              <a:t>đồng</a:t>
            </a:r>
            <a:endParaRPr lang="vi-VN" sz="1200" b="1" i="1" dirty="0">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8C82F918-033C-84A0-3FB3-983E0D5E4089}"/>
              </a:ext>
            </a:extLst>
          </p:cNvPr>
          <p:cNvSpPr txBox="1"/>
          <p:nvPr/>
        </p:nvSpPr>
        <p:spPr>
          <a:xfrm>
            <a:off x="494923" y="13154"/>
            <a:ext cx="11451000" cy="1200329"/>
          </a:xfrm>
          <a:prstGeom prst="rect">
            <a:avLst/>
          </a:prstGeom>
          <a:noFill/>
        </p:spPr>
        <p:txBody>
          <a:bodyPr wrap="square">
            <a:spAutoFit/>
          </a:bodyPr>
          <a:lstStyle/>
          <a:p>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Giải ngân kế hoạch đầu tư công năm 2023 nguồn vốn do tỉnh quản lý (kể cả nguồn vốn cấp </a:t>
            </a:r>
            <a:r>
              <a:rPr lang="en-US" sz="2400" b="1" spc="-20">
                <a:latin typeface="Times New Roman" panose="02020603050405020304" pitchFamily="18" charset="0"/>
                <a:cs typeface="Times New Roman" panose="02020603050405020304" pitchFamily="18" charset="0"/>
              </a:rPr>
              <a:t>cho huyện, thị xã, thành phố làm chủ đầu tư)</a:t>
            </a:r>
          </a:p>
          <a:p>
            <a:pPr>
              <a:lnSpc>
                <a:spcPct val="100000"/>
              </a:lnSpc>
            </a:pPr>
            <a:endParaRPr lang="vi-VN" sz="2400" b="1">
              <a:latin typeface="+mj-lt"/>
              <a:cs typeface="Arial" panose="020B0604020202020204" pitchFamily="34" charset="0"/>
            </a:endParaRPr>
          </a:p>
        </p:txBody>
      </p:sp>
      <p:graphicFrame>
        <p:nvGraphicFramePr>
          <p:cNvPr id="3" name="Object 2">
            <a:extLst>
              <a:ext uri="{FF2B5EF4-FFF2-40B4-BE49-F238E27FC236}">
                <a16:creationId xmlns:a16="http://schemas.microsoft.com/office/drawing/2014/main" id="{67F525BF-A81E-CE51-570C-C7159D13C686}"/>
              </a:ext>
            </a:extLst>
          </p:cNvPr>
          <p:cNvGraphicFramePr>
            <a:graphicFrameLocks noChangeAspect="1"/>
          </p:cNvGraphicFramePr>
          <p:nvPr>
            <p:extLst>
              <p:ext uri="{D42A27DB-BD31-4B8C-83A1-F6EECF244321}">
                <p14:modId xmlns:p14="http://schemas.microsoft.com/office/powerpoint/2010/main" val="3773097726"/>
              </p:ext>
            </p:extLst>
          </p:nvPr>
        </p:nvGraphicFramePr>
        <p:xfrm>
          <a:off x="575277" y="938490"/>
          <a:ext cx="5179137" cy="5811760"/>
        </p:xfrm>
        <a:graphic>
          <a:graphicData uri="http://schemas.openxmlformats.org/presentationml/2006/ole">
            <mc:AlternateContent xmlns:mc="http://schemas.openxmlformats.org/markup-compatibility/2006">
              <mc:Choice xmlns:v="urn:schemas-microsoft-com:vml" Requires="v">
                <p:oleObj name="Worksheet" r:id="rId2" imgW="6753240" imgH="6848408" progId="Excel.Sheet.12">
                  <p:embed/>
                </p:oleObj>
              </mc:Choice>
              <mc:Fallback>
                <p:oleObj name="Worksheet" r:id="rId2" imgW="6753240" imgH="6848408" progId="Excel.Sheet.12">
                  <p:embed/>
                  <p:pic>
                    <p:nvPicPr>
                      <p:cNvPr id="3" name="Object 2">
                        <a:extLst>
                          <a:ext uri="{FF2B5EF4-FFF2-40B4-BE49-F238E27FC236}">
                            <a16:creationId xmlns:a16="http://schemas.microsoft.com/office/drawing/2014/main" id="{67F525BF-A81E-CE51-570C-C7159D13C686}"/>
                          </a:ext>
                        </a:extLst>
                      </p:cNvPr>
                      <p:cNvPicPr/>
                      <p:nvPr/>
                    </p:nvPicPr>
                    <p:blipFill>
                      <a:blip r:embed="rId3"/>
                      <a:stretch>
                        <a:fillRect/>
                      </a:stretch>
                    </p:blipFill>
                    <p:spPr>
                      <a:xfrm>
                        <a:off x="575277" y="938490"/>
                        <a:ext cx="5179137" cy="5811760"/>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2628C07C-CC0C-801D-3786-996493F9EC14}"/>
              </a:ext>
            </a:extLst>
          </p:cNvPr>
          <p:cNvGraphicFramePr>
            <a:graphicFrameLocks noChangeAspect="1"/>
          </p:cNvGraphicFramePr>
          <p:nvPr>
            <p:extLst>
              <p:ext uri="{D42A27DB-BD31-4B8C-83A1-F6EECF244321}">
                <p14:modId xmlns:p14="http://schemas.microsoft.com/office/powerpoint/2010/main" val="3266971706"/>
              </p:ext>
            </p:extLst>
          </p:nvPr>
        </p:nvGraphicFramePr>
        <p:xfrm>
          <a:off x="6096000" y="938491"/>
          <a:ext cx="5664447" cy="5811760"/>
        </p:xfrm>
        <a:graphic>
          <a:graphicData uri="http://schemas.openxmlformats.org/presentationml/2006/ole">
            <mc:AlternateContent xmlns:mc="http://schemas.openxmlformats.org/markup-compatibility/2006">
              <mc:Choice xmlns:v="urn:schemas-microsoft-com:vml" Requires="v">
                <p:oleObj name="Worksheet" r:id="rId4" imgW="6753240" imgH="6067532" progId="Excel.Sheet.12">
                  <p:embed/>
                </p:oleObj>
              </mc:Choice>
              <mc:Fallback>
                <p:oleObj name="Worksheet" r:id="rId4" imgW="6753240" imgH="6067532" progId="Excel.Sheet.12">
                  <p:embed/>
                  <p:pic>
                    <p:nvPicPr>
                      <p:cNvPr id="5" name="Object 4">
                        <a:extLst>
                          <a:ext uri="{FF2B5EF4-FFF2-40B4-BE49-F238E27FC236}">
                            <a16:creationId xmlns:a16="http://schemas.microsoft.com/office/drawing/2014/main" id="{2628C07C-CC0C-801D-3786-996493F9EC14}"/>
                          </a:ext>
                        </a:extLst>
                      </p:cNvPr>
                      <p:cNvPicPr/>
                      <p:nvPr/>
                    </p:nvPicPr>
                    <p:blipFill>
                      <a:blip r:embed="rId5"/>
                      <a:stretch>
                        <a:fillRect/>
                      </a:stretch>
                    </p:blipFill>
                    <p:spPr>
                      <a:xfrm>
                        <a:off x="6096000" y="938491"/>
                        <a:ext cx="5664447" cy="5811760"/>
                      </a:xfrm>
                      <a:prstGeom prst="rect">
                        <a:avLst/>
                      </a:prstGeom>
                    </p:spPr>
                  </p:pic>
                </p:oleObj>
              </mc:Fallback>
            </mc:AlternateContent>
          </a:graphicData>
        </a:graphic>
      </p:graphicFrame>
    </p:spTree>
    <p:extLst>
      <p:ext uri="{BB962C8B-B14F-4D97-AF65-F5344CB8AC3E}">
        <p14:creationId xmlns:p14="http://schemas.microsoft.com/office/powerpoint/2010/main" val="2431902142"/>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888588-A0B1-0B2A-380A-1225B8EED879}"/>
              </a:ext>
            </a:extLst>
          </p:cNvPr>
          <p:cNvSpPr txBox="1"/>
          <p:nvPr/>
        </p:nvSpPr>
        <p:spPr>
          <a:xfrm>
            <a:off x="3681101" y="1092700"/>
            <a:ext cx="1482598" cy="307777"/>
          </a:xfrm>
          <a:prstGeom prst="rect">
            <a:avLst/>
          </a:prstGeom>
          <a:noFill/>
        </p:spPr>
        <p:txBody>
          <a:bodyPr wrap="square" rtlCol="0">
            <a:spAutoFit/>
          </a:bodyPr>
          <a:lstStyle/>
          <a:p>
            <a:r>
              <a:rPr lang="en-US" sz="1400" b="1" i="1" dirty="0" err="1">
                <a:latin typeface="Times New Roman" panose="02020603050405020304" pitchFamily="18" charset="0"/>
                <a:cs typeface="Times New Roman" panose="02020603050405020304" pitchFamily="18" charset="0"/>
              </a:rPr>
              <a:t>ĐVT</a:t>
            </a:r>
            <a:r>
              <a:rPr lang="en-US" sz="1400" b="1" i="1" dirty="0">
                <a:latin typeface="Times New Roman" panose="02020603050405020304" pitchFamily="18" charset="0"/>
                <a:cs typeface="Times New Roman" panose="02020603050405020304" pitchFamily="18" charset="0"/>
              </a:rPr>
              <a:t>: </a:t>
            </a:r>
            <a:r>
              <a:rPr lang="en-US" sz="1400" b="1" i="1" dirty="0" err="1">
                <a:latin typeface="Times New Roman" panose="02020603050405020304" pitchFamily="18" charset="0"/>
                <a:cs typeface="Times New Roman" panose="02020603050405020304" pitchFamily="18" charset="0"/>
              </a:rPr>
              <a:t>triệu</a:t>
            </a:r>
            <a:r>
              <a:rPr lang="en-US" sz="1400" b="1" i="1" dirty="0">
                <a:latin typeface="Times New Roman" panose="02020603050405020304" pitchFamily="18" charset="0"/>
                <a:cs typeface="Times New Roman" panose="02020603050405020304" pitchFamily="18" charset="0"/>
              </a:rPr>
              <a:t> </a:t>
            </a:r>
            <a:r>
              <a:rPr lang="en-US" sz="1400" b="1" i="1" dirty="0" err="1">
                <a:latin typeface="Times New Roman" panose="02020603050405020304" pitchFamily="18" charset="0"/>
                <a:cs typeface="Times New Roman" panose="02020603050405020304" pitchFamily="18" charset="0"/>
              </a:rPr>
              <a:t>đồng</a:t>
            </a:r>
            <a:endParaRPr lang="vi-VN" sz="1400" b="1" i="1" dirty="0">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4E4A5F7E-2164-5EF9-C897-EA8E3B455DCF}"/>
              </a:ext>
            </a:extLst>
          </p:cNvPr>
          <p:cNvSpPr txBox="1"/>
          <p:nvPr/>
        </p:nvSpPr>
        <p:spPr>
          <a:xfrm>
            <a:off x="427839" y="292481"/>
            <a:ext cx="11920755" cy="800219"/>
          </a:xfrm>
          <a:prstGeom prst="rect">
            <a:avLst/>
          </a:prstGeom>
          <a:noFill/>
        </p:spPr>
        <p:txBody>
          <a:bodyPr wrap="square">
            <a:spAutoFit/>
          </a:bodyPr>
          <a:lstStyle/>
          <a:p>
            <a:pPr marL="12700" defTabSz="914400">
              <a:spcBef>
                <a:spcPts val="300"/>
              </a:spcBef>
              <a:defRPr/>
            </a:pPr>
            <a:r>
              <a:rPr lang="vi-VN" sz="2200" b="1">
                <a:latin typeface="+mj-lt"/>
                <a:cs typeface="Arial" panose="020B0604020202020204" pitchFamily="34" charset="0"/>
              </a:rPr>
              <a:t>c) </a:t>
            </a:r>
            <a:r>
              <a:rPr lang="en-US" sz="2200" b="1" spc="-20">
                <a:solidFill>
                  <a:srgbClr val="100717"/>
                </a:solidFill>
                <a:latin typeface="Times New Roman" panose="02020603050405020304" pitchFamily="18" charset="0"/>
                <a:cs typeface="Times New Roman" panose="02020603050405020304" pitchFamily="18" charset="0"/>
              </a:rPr>
              <a:t>Giải ngân nguồn vốn đầu tư công phân cấp cho huyện, thị xã, thành phố thực hiện năm 2023</a:t>
            </a:r>
            <a:endParaRPr lang="en-US" sz="2200" b="1" spc="-20">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7" name="Chart 6">
            <a:extLst>
              <a:ext uri="{FF2B5EF4-FFF2-40B4-BE49-F238E27FC236}">
                <a16:creationId xmlns:a16="http://schemas.microsoft.com/office/drawing/2014/main" id="{7E4DEF8C-C3DD-32B7-EA6D-EC8DBF1D91E7}"/>
              </a:ext>
            </a:extLst>
          </p:cNvPr>
          <p:cNvGraphicFramePr>
            <a:graphicFrameLocks/>
          </p:cNvGraphicFramePr>
          <p:nvPr>
            <p:extLst>
              <p:ext uri="{D42A27DB-BD31-4B8C-83A1-F6EECF244321}">
                <p14:modId xmlns:p14="http://schemas.microsoft.com/office/powerpoint/2010/main" val="3148645894"/>
              </p:ext>
            </p:extLst>
          </p:nvPr>
        </p:nvGraphicFramePr>
        <p:xfrm>
          <a:off x="5100890" y="1426127"/>
          <a:ext cx="6851275" cy="48344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Object 7">
            <a:extLst>
              <a:ext uri="{FF2B5EF4-FFF2-40B4-BE49-F238E27FC236}">
                <a16:creationId xmlns:a16="http://schemas.microsoft.com/office/drawing/2014/main" id="{C7786899-1BCC-47B3-098F-8C88F862AC90}"/>
              </a:ext>
            </a:extLst>
          </p:cNvPr>
          <p:cNvGraphicFramePr>
            <a:graphicFrameLocks noChangeAspect="1"/>
          </p:cNvGraphicFramePr>
          <p:nvPr>
            <p:extLst>
              <p:ext uri="{D42A27DB-BD31-4B8C-83A1-F6EECF244321}">
                <p14:modId xmlns:p14="http://schemas.microsoft.com/office/powerpoint/2010/main" val="2540954650"/>
              </p:ext>
            </p:extLst>
          </p:nvPr>
        </p:nvGraphicFramePr>
        <p:xfrm>
          <a:off x="286624" y="1426128"/>
          <a:ext cx="4814266" cy="4834450"/>
        </p:xfrm>
        <a:graphic>
          <a:graphicData uri="http://schemas.openxmlformats.org/presentationml/2006/ole">
            <mc:AlternateContent xmlns:mc="http://schemas.openxmlformats.org/markup-compatibility/2006">
              <mc:Choice xmlns:v="urn:schemas-microsoft-com:vml" Requires="v">
                <p:oleObj name="Worksheet" r:id="rId3" imgW="4572000" imgH="3705118" progId="Excel.Sheet.12">
                  <p:embed/>
                </p:oleObj>
              </mc:Choice>
              <mc:Fallback>
                <p:oleObj name="Worksheet" r:id="rId3" imgW="4572000" imgH="3705118" progId="Excel.Sheet.12">
                  <p:embed/>
                  <p:pic>
                    <p:nvPicPr>
                      <p:cNvPr id="8" name="Object 7">
                        <a:extLst>
                          <a:ext uri="{FF2B5EF4-FFF2-40B4-BE49-F238E27FC236}">
                            <a16:creationId xmlns:a16="http://schemas.microsoft.com/office/drawing/2014/main" id="{C7786899-1BCC-47B3-098F-8C88F862AC90}"/>
                          </a:ext>
                        </a:extLst>
                      </p:cNvPr>
                      <p:cNvPicPr/>
                      <p:nvPr/>
                    </p:nvPicPr>
                    <p:blipFill>
                      <a:blip r:embed="rId4"/>
                      <a:stretch>
                        <a:fillRect/>
                      </a:stretch>
                    </p:blipFill>
                    <p:spPr>
                      <a:xfrm>
                        <a:off x="286624" y="1426128"/>
                        <a:ext cx="4814266" cy="4834450"/>
                      </a:xfrm>
                      <a:prstGeom prst="rect">
                        <a:avLst/>
                      </a:prstGeom>
                    </p:spPr>
                  </p:pic>
                </p:oleObj>
              </mc:Fallback>
            </mc:AlternateContent>
          </a:graphicData>
        </a:graphic>
      </p:graphicFrame>
    </p:spTree>
    <p:extLst>
      <p:ext uri="{BB962C8B-B14F-4D97-AF65-F5344CB8AC3E}">
        <p14:creationId xmlns:p14="http://schemas.microsoft.com/office/powerpoint/2010/main" val="2423476542"/>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041128270"/>
              </p:ext>
            </p:extLst>
          </p:nvPr>
        </p:nvGraphicFramePr>
        <p:xfrm>
          <a:off x="529793" y="1383788"/>
          <a:ext cx="11132414" cy="2468880"/>
        </p:xfrm>
        <a:graphic>
          <a:graphicData uri="http://schemas.openxmlformats.org/drawingml/2006/table">
            <a:tbl>
              <a:tblPr firstRow="1" bandRow="1"/>
              <a:tblGrid>
                <a:gridCol w="1113241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a:t>
                      </a:r>
                      <a:r>
                        <a:rPr lang="nl-NL" sz="2000" b="1" i="1">
                          <a:solidFill>
                            <a:schemeClr val="tx1"/>
                          </a:solidFill>
                          <a:effectLst/>
                          <a:latin typeface="Times New Roman" panose="02020603050405020304" pitchFamily="18" charset="0"/>
                          <a:ea typeface="Times New Roman" panose="02020603050405020304" pitchFamily="18" charset="0"/>
                        </a:rPr>
                        <a:t>Về đầu tư nước ngoài (FDI):</a:t>
                      </a:r>
                      <a:r>
                        <a:rPr lang="nl-NL" sz="2000" b="1" spc="-10">
                          <a:solidFill>
                            <a:schemeClr val="tx1"/>
                          </a:solidFill>
                          <a:effectLst/>
                          <a:latin typeface="Times New Roman" panose="02020603050405020304" pitchFamily="18" charset="0"/>
                          <a:ea typeface="Times New Roman" panose="02020603050405020304" pitchFamily="18" charset="0"/>
                        </a:rPr>
                        <a:t> </a:t>
                      </a:r>
                      <a:r>
                        <a:rPr lang="en-US" sz="2000" b="0" kern="1200" spc="-10">
                          <a:solidFill>
                            <a:schemeClr val="tx1"/>
                          </a:solidFill>
                          <a:effectLst/>
                          <a:latin typeface="Times New Roman" panose="02020603050405020304" pitchFamily="18" charset="0"/>
                          <a:ea typeface="+mn-ea"/>
                          <a:cs typeface="+mn-cs"/>
                        </a:rPr>
                        <a:t>Từ đầu năm đến nay </a:t>
                      </a:r>
                      <a:r>
                        <a:rPr lang="vi-VN" sz="2000" b="0" kern="1200" spc="-10">
                          <a:solidFill>
                            <a:schemeClr val="tx1"/>
                          </a:solidFill>
                          <a:effectLst/>
                          <a:latin typeface="Times New Roman" panose="02020603050405020304" pitchFamily="18" charset="0"/>
                          <a:ea typeface="+mn-ea"/>
                          <a:cs typeface="+mn-cs"/>
                        </a:rPr>
                        <a:t>ghi nhận 1 dự án FDI đăng ký đầu tư mới, với tổng vốn đầu tư là 81.065 USD từ Công ty CP Quốc tế anh văn Hội Việt Mỹ, nhà đầu tư Singapore. Tính đến nay, toàn tỉnh có 87 dự án FDI với tổng vốn đăng ký khoảng </a:t>
                      </a:r>
                      <a:r>
                        <a:rPr lang="en-US" sz="2000" b="0" kern="1200" spc="-10">
                          <a:solidFill>
                            <a:schemeClr val="tx1"/>
                          </a:solidFill>
                          <a:effectLst/>
                          <a:latin typeface="Times New Roman" panose="02020603050405020304" pitchFamily="18" charset="0"/>
                          <a:ea typeface="+mn-ea"/>
                          <a:cs typeface="+mn-cs"/>
                        </a:rPr>
                        <a:t>1,13</a:t>
                      </a:r>
                      <a:r>
                        <a:rPr lang="vi-VN" sz="2000" b="0" kern="1200" spc="-10">
                          <a:solidFill>
                            <a:schemeClr val="tx1"/>
                          </a:solidFill>
                          <a:effectLst/>
                          <a:latin typeface="Times New Roman" panose="02020603050405020304" pitchFamily="18" charset="0"/>
                          <a:ea typeface="+mn-ea"/>
                          <a:cs typeface="+mn-cs"/>
                        </a:rPr>
                        <a:t> t</a:t>
                      </a:r>
                      <a:r>
                        <a:rPr lang="en-US" sz="2000" b="0" kern="1200" spc="-10">
                          <a:solidFill>
                            <a:schemeClr val="tx1"/>
                          </a:solidFill>
                          <a:effectLst/>
                          <a:latin typeface="Times New Roman" panose="02020603050405020304" pitchFamily="18" charset="0"/>
                          <a:ea typeface="+mn-ea"/>
                          <a:cs typeface="+mn-cs"/>
                        </a:rPr>
                        <a:t>ỷ</a:t>
                      </a:r>
                      <a:r>
                        <a:rPr lang="vi-VN" sz="2000" b="0" kern="1200" spc="-10">
                          <a:solidFill>
                            <a:schemeClr val="tx1"/>
                          </a:solidFill>
                          <a:effectLst/>
                          <a:latin typeface="Times New Roman" panose="02020603050405020304" pitchFamily="18" charset="0"/>
                          <a:ea typeface="+mn-ea"/>
                          <a:cs typeface="+mn-cs"/>
                        </a:rPr>
                        <a:t> USD</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1" i="1">
                          <a:effectLst/>
                          <a:latin typeface="Times New Roman" panose="02020603050405020304" pitchFamily="18" charset="0"/>
                          <a:ea typeface="Times New Roman" panose="02020603050405020304" pitchFamily="18" charset="0"/>
                        </a:rPr>
                        <a:t> </a:t>
                      </a:r>
                      <a:r>
                        <a:rPr lang="nl-NL" sz="2000" b="1" i="1">
                          <a:effectLst/>
                          <a:latin typeface="Times New Roman" panose="02020603050405020304" pitchFamily="18" charset="0"/>
                          <a:ea typeface="Times New Roman" panose="02020603050405020304" pitchFamily="18" charset="0"/>
                        </a:rPr>
                        <a:t>Về đầu tư trong nước:</a:t>
                      </a:r>
                      <a:r>
                        <a:rPr lang="vi-VN" sz="2000" b="1" i="1">
                          <a:effectLst/>
                          <a:latin typeface="Times New Roman" panose="02020603050405020304" pitchFamily="18" charset="0"/>
                          <a:ea typeface="Times New Roman" panose="02020603050405020304" pitchFamily="18" charset="0"/>
                        </a:rPr>
                        <a:t> </a:t>
                      </a:r>
                      <a:r>
                        <a:rPr lang="vi-VN" sz="2000" b="0" i="0" kern="1200" spc="-10">
                          <a:solidFill>
                            <a:schemeClr val="tx1"/>
                          </a:solidFill>
                          <a:effectLst/>
                          <a:latin typeface="Times New Roman" panose="02020603050405020304" pitchFamily="18" charset="0"/>
                          <a:ea typeface="+mn-ea"/>
                          <a:cs typeface="+mn-cs"/>
                        </a:rPr>
                        <a:t>Đã t</a:t>
                      </a:r>
                      <a:r>
                        <a:rPr lang="vi-VN" sz="2000" b="0" kern="1200" spc="-10">
                          <a:solidFill>
                            <a:schemeClr val="tx1"/>
                          </a:solidFill>
                          <a:effectLst/>
                          <a:latin typeface="Times New Roman" panose="02020603050405020304" pitchFamily="18" charset="0"/>
                          <a:ea typeface="+mn-ea"/>
                          <a:cs typeface="+mn-cs"/>
                        </a:rPr>
                        <a:t>hu hút 50 dự án với tổng vốn đăng ký 11.561,6 tỷ đồng</a:t>
                      </a:r>
                      <a:r>
                        <a:rPr lang="nl-NL" sz="2000" b="0" kern="1200" spc="-10">
                          <a:solidFill>
                            <a:schemeClr val="tx1"/>
                          </a:solidFill>
                          <a:effectLst/>
                          <a:latin typeface="Times New Roman" panose="02020603050405020304" pitchFamily="18" charset="0"/>
                          <a:ea typeface="+mn-ea"/>
                          <a:cs typeface="+mn-cs"/>
                        </a:rPr>
                        <a:t>, </a:t>
                      </a:r>
                      <a:r>
                        <a:rPr lang="en-US" sz="2000" b="0" kern="1200" spc="-10">
                          <a:solidFill>
                            <a:schemeClr val="tx1"/>
                          </a:solidFill>
                          <a:effectLst/>
                          <a:latin typeface="Times New Roman" panose="02020603050405020304" pitchFamily="18" charset="0"/>
                          <a:ea typeface="+mn-ea"/>
                          <a:cs typeface="+mn-cs"/>
                        </a:rPr>
                        <a:t>đạt 83,3% kế hoạch năm (50/60 dự án); bao gồm 11 dự án trong Khu kinh tế Nhơn Hội và Khu công nghiệp với tổng vốn 503 tỷ đồng; 39 dự án ngoài Khu kinh tế và Khu công nghiệp với tổng vốn trên 11.058 tỷ đồng</a:t>
                      </a:r>
                      <a:r>
                        <a:rPr lang="vi-VN" sz="2000" b="0" kern="1200" spc="-10">
                          <a:solidFill>
                            <a:schemeClr val="tx1"/>
                          </a:solidFill>
                          <a:effectLst/>
                          <a:latin typeface="Times New Roman" panose="02020603050405020304" pitchFamily="18" charset="0"/>
                          <a:ea typeface="+mn-ea"/>
                          <a:cs typeface="+mn-cs"/>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spc="-10">
                          <a:solidFill>
                            <a:schemeClr val="tx1"/>
                          </a:solidFill>
                          <a:effectLst/>
                          <a:latin typeface="Times New Roman" panose="02020603050405020304" pitchFamily="18" charset="0"/>
                          <a:ea typeface="+mn-ea"/>
                          <a:cs typeface="+mn-cs"/>
                        </a:rPr>
                        <a:t> Số liệu thu hút đầu tư trong nước 7 tháng năm 2023 so với cùng kỳ:</a:t>
                      </a:r>
                      <a:endParaRPr lang="en-US" sz="20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79487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Object 4">
            <a:extLst>
              <a:ext uri="{FF2B5EF4-FFF2-40B4-BE49-F238E27FC236}">
                <a16:creationId xmlns:a16="http://schemas.microsoft.com/office/drawing/2014/main" id="{E68FB69B-8EEF-CB8A-1342-5C049A3B6DBF}"/>
              </a:ext>
            </a:extLst>
          </p:cNvPr>
          <p:cNvGraphicFramePr>
            <a:graphicFrameLocks noChangeAspect="1"/>
          </p:cNvGraphicFramePr>
          <p:nvPr>
            <p:extLst>
              <p:ext uri="{D42A27DB-BD31-4B8C-83A1-F6EECF244321}">
                <p14:modId xmlns:p14="http://schemas.microsoft.com/office/powerpoint/2010/main" val="486422943"/>
              </p:ext>
            </p:extLst>
          </p:nvPr>
        </p:nvGraphicFramePr>
        <p:xfrm>
          <a:off x="1777271" y="3918359"/>
          <a:ext cx="7886700" cy="2733675"/>
        </p:xfrm>
        <a:graphic>
          <a:graphicData uri="http://schemas.openxmlformats.org/presentationml/2006/ole">
            <mc:AlternateContent xmlns:mc="http://schemas.openxmlformats.org/markup-compatibility/2006">
              <mc:Choice xmlns:v="urn:schemas-microsoft-com:vml" Requires="v">
                <p:oleObj name="Worksheet" r:id="rId2" imgW="7886880" imgH="2733608" progId="Excel.Sheet.8">
                  <p:embed/>
                </p:oleObj>
              </mc:Choice>
              <mc:Fallback>
                <p:oleObj name="Worksheet" r:id="rId2" imgW="7886880" imgH="2733608" progId="Excel.Sheet.8">
                  <p:embed/>
                  <p:pic>
                    <p:nvPicPr>
                      <p:cNvPr id="5" name="Object 4">
                        <a:extLst>
                          <a:ext uri="{FF2B5EF4-FFF2-40B4-BE49-F238E27FC236}">
                            <a16:creationId xmlns:a16="http://schemas.microsoft.com/office/drawing/2014/main" id="{E68FB69B-8EEF-CB8A-1342-5C049A3B6DBF}"/>
                          </a:ext>
                        </a:extLst>
                      </p:cNvPr>
                      <p:cNvPicPr/>
                      <p:nvPr/>
                    </p:nvPicPr>
                    <p:blipFill>
                      <a:blip r:embed="rId3"/>
                      <a:stretch>
                        <a:fillRect/>
                      </a:stretch>
                    </p:blipFill>
                    <p:spPr>
                      <a:xfrm>
                        <a:off x="1777271" y="3918359"/>
                        <a:ext cx="7886700" cy="2733675"/>
                      </a:xfrm>
                      <a:prstGeom prst="rect">
                        <a:avLst/>
                      </a:prstGeom>
                    </p:spPr>
                  </p:pic>
                </p:oleObj>
              </mc:Fallback>
            </mc:AlternateContent>
          </a:graphicData>
        </a:graphic>
      </p:graphicFrame>
    </p:spTree>
    <p:extLst>
      <p:ext uri="{BB962C8B-B14F-4D97-AF65-F5344CB8AC3E}">
        <p14:creationId xmlns:p14="http://schemas.microsoft.com/office/powerpoint/2010/main" val="178624330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50" y="1974253"/>
            <a:ext cx="2576082" cy="1689009"/>
            <a:chOff x="3724249" y="3747130"/>
            <a:chExt cx="1932061" cy="1171565"/>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6.403</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548759" y="4555768"/>
              <a:ext cx="81536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12,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2029449"/>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661</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487334" y="4011325"/>
              <a:ext cx="815368"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16,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id="{4B2CFC84-8DFF-5F35-2AB4-7366F5A387B3}"/>
              </a:ext>
            </a:extLst>
          </p:cNvPr>
          <p:cNvSpPr>
            <a:spLocks/>
          </p:cNvSpPr>
          <p:nvPr/>
        </p:nvSpPr>
        <p:spPr>
          <a:xfrm>
            <a:off x="3402089" y="3253521"/>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42661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483</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42453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46</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9683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26</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14" name="Flowchart: Merge 13">
            <a:extLst>
              <a:ext uri="{FF2B5EF4-FFF2-40B4-BE49-F238E27FC236}">
                <a16:creationId xmlns:a16="http://schemas.microsoft.com/office/drawing/2014/main" id="{3BB21231-19D0-3C3C-817D-946F318BECDB}"/>
              </a:ext>
            </a:extLst>
          </p:cNvPr>
          <p:cNvSpPr>
            <a:spLocks/>
          </p:cNvSpPr>
          <p:nvPr/>
        </p:nvSpPr>
        <p:spPr>
          <a:xfrm>
            <a:off x="7650218" y="32025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41681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9081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380247455"/>
              </p:ext>
            </p:extLst>
          </p:nvPr>
        </p:nvGraphicFramePr>
        <p:xfrm>
          <a:off x="529904" y="1277224"/>
          <a:ext cx="11347771" cy="344424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ổ chức 02 lớp tập huấn về công tác bảo vệ môi trường với hơn 300 cán bộ làm công tác quản lý môi trường cấp huyện, xã, các hội đoàn thể và một số doanh nghiệp trên địa bàn tỉnh</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Hoàn thiện các tài liệu truyền thông môi trường:</a:t>
                      </a:r>
                    </a:p>
                    <a:p>
                      <a:pPr marL="720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Sổ tay hỏi – đáp về môi trường</a:t>
                      </a:r>
                    </a:p>
                    <a:p>
                      <a:pPr marL="720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Sổ tay “Giới thiệu Luật Bảo vệ môi trường 2020</a:t>
                      </a:r>
                    </a:p>
                    <a:p>
                      <a:pPr marL="720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Sổ tay “Phân loại chất thải rắn sinh hoạt quy mô hộ gia đình”</a:t>
                      </a:r>
                    </a:p>
                    <a:p>
                      <a:pPr marL="720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ài liệu truyền thông trên hệ thống loa phát thanh cấp xã</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riển khai mô hình phân loại, vận chuyển và xử lý chất thải rắn sinh hoạt tại nguồn tại một số địa phươ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037053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548689" y="1341941"/>
            <a:ext cx="10793227" cy="3662541"/>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da-DK" sz="2400">
                <a:latin typeface="Times New Roman" panose="02020603050405020304" pitchFamily="18" charset="0"/>
              </a:rPr>
              <a:t>Ngành Giáo dục đã tổ chức thành công kỳ thi tốt nghiệp THPT 2023 theo đúng quy định của Bộ Giáo dục và Đào tạo.</a:t>
            </a:r>
            <a:endParaRPr lang="vi-VN" sz="24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vi-VN" sz="2400">
                <a:latin typeface="Times New Roman" panose="02020603050405020304" pitchFamily="18" charset="0"/>
              </a:rPr>
              <a:t>Toàn </a:t>
            </a:r>
            <a:r>
              <a:rPr lang="da-DK" sz="2400">
                <a:latin typeface="Times New Roman" panose="02020603050405020304" pitchFamily="18" charset="0"/>
              </a:rPr>
              <a:t>tỉnh có 18.346/18.571 </a:t>
            </a:r>
            <a:r>
              <a:rPr lang="vi-VN" sz="2400">
                <a:latin typeface="Times New Roman" panose="02020603050405020304" pitchFamily="18" charset="0"/>
              </a:rPr>
              <a:t>thí sinh </a:t>
            </a:r>
            <a:r>
              <a:rPr lang="da-DK" sz="2400">
                <a:latin typeface="Times New Roman" panose="02020603050405020304" pitchFamily="18" charset="0"/>
              </a:rPr>
              <a:t>đỗ tốt nghiệp</a:t>
            </a:r>
            <a:r>
              <a:rPr lang="vi-VN" sz="2400">
                <a:latin typeface="Times New Roman" panose="02020603050405020304" pitchFamily="18" charset="0"/>
              </a:rPr>
              <a:t>,</a:t>
            </a:r>
            <a:r>
              <a:rPr lang="da-DK" sz="2400">
                <a:latin typeface="Times New Roman" panose="02020603050405020304" pitchFamily="18" charset="0"/>
              </a:rPr>
              <a:t> </a:t>
            </a:r>
            <a:r>
              <a:rPr lang="vi-VN" sz="2400">
                <a:latin typeface="Times New Roman" panose="02020603050405020304" pitchFamily="18" charset="0"/>
              </a:rPr>
              <a:t>đạt</a:t>
            </a:r>
            <a:r>
              <a:rPr lang="da-DK" sz="2400">
                <a:latin typeface="Times New Roman" panose="02020603050405020304" pitchFamily="18" charset="0"/>
              </a:rPr>
              <a:t> tỷ lệ 98,79% (tăng 0,36% so với năm 2022) và xếp vị thứ 25/63 tỉnh</a:t>
            </a:r>
            <a:r>
              <a:rPr lang="vi-VN" sz="2400">
                <a:latin typeface="Times New Roman" panose="02020603050405020304" pitchFamily="18" charset="0"/>
              </a:rPr>
              <a:t>,</a:t>
            </a:r>
            <a:r>
              <a:rPr lang="da-DK" sz="2400">
                <a:latin typeface="Times New Roman" panose="02020603050405020304" pitchFamily="18" charset="0"/>
              </a:rPr>
              <a:t> thành</a:t>
            </a:r>
            <a:r>
              <a:rPr lang="vi-VN" sz="2400">
                <a:latin typeface="Times New Roman" panose="02020603050405020304" pitchFamily="18" charset="0"/>
              </a:rPr>
              <a:t> phố trên cả nước</a:t>
            </a:r>
            <a:r>
              <a:rPr lang="da-DK" sz="2400">
                <a:latin typeface="Times New Roman" panose="02020603050405020304" pitchFamily="18" charset="0"/>
              </a:rPr>
              <a:t> về phổ điểm trung bình</a:t>
            </a:r>
            <a:endParaRPr lang="vi-VN" sz="24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400" spc="-10">
                <a:effectLst/>
                <a:latin typeface="Times New Roman" panose="02020603050405020304" pitchFamily="18" charset="0"/>
                <a:ea typeface="Times New Roman" panose="02020603050405020304" pitchFamily="18" charset="0"/>
              </a:rPr>
              <a:t>Các hoạt động nghệ thuật, lễ hội dân gian truyền thống, thể dục thể thao quần chúng được tổ chức với nhiều nội dung đặc sắc, phong phú</a:t>
            </a:r>
            <a:endParaRPr lang="vi-VN" sz="2400" spc="-1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vi-VN" sz="2400" b="0" kern="1200">
                <a:solidFill>
                  <a:schemeClr val="dk1"/>
                </a:solidFill>
                <a:effectLst/>
                <a:latin typeface="Times New Roman" panose="02020603050405020304" pitchFamily="18" charset="0"/>
                <a:ea typeface="+mn-ea"/>
                <a:cs typeface="Times New Roman" panose="02020603050405020304" pitchFamily="18" charset="0"/>
              </a:rPr>
              <a:t>T</a:t>
            </a:r>
            <a:r>
              <a:rPr lang="nl-NL" sz="2400" b="0" kern="1200">
                <a:solidFill>
                  <a:schemeClr val="dk1"/>
                </a:solidFill>
                <a:effectLst/>
                <a:latin typeface="Times New Roman" panose="02020603050405020304" pitchFamily="18" charset="0"/>
                <a:ea typeface="+mn-ea"/>
                <a:cs typeface="Times New Roman" panose="02020603050405020304" pitchFamily="18" charset="0"/>
              </a:rPr>
              <a:t>iếp tục tập trung đẩy mạnh công tác phòng, chống</a:t>
            </a:r>
            <a:r>
              <a:rPr lang="vi-VN" sz="2400" b="0" kern="1200">
                <a:solidFill>
                  <a:schemeClr val="dk1"/>
                </a:solidFill>
                <a:effectLst/>
                <a:latin typeface="Times New Roman" panose="02020603050405020304" pitchFamily="18" charset="0"/>
                <a:ea typeface="+mn-ea"/>
                <a:cs typeface="Times New Roman" panose="02020603050405020304" pitchFamily="18" charset="0"/>
              </a:rPr>
              <a:t> các loại dịch bệnh </a:t>
            </a:r>
            <a:endParaRPr lang="vi-VN" sz="2400" spc="-10">
              <a:latin typeface="Times New Roman" panose="02020603050405020304" pitchFamily="18" charset="0"/>
              <a:ea typeface="Times New Roman" panose="02020603050405020304" pitchFamily="18" charset="0"/>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408956" y="1330990"/>
            <a:ext cx="5765425" cy="3457357"/>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en-US" sz="2400">
                <a:latin typeface="Times New Roman" panose="02020603050405020304" pitchFamily="18" charset="0"/>
              </a:rPr>
              <a:t>Công tác an sinh xã hội, chăm lo đời sống cho các đối tượng chính sách tiếp tục được thực hiện.</a:t>
            </a:r>
          </a:p>
          <a:p>
            <a:pPr lvl="1" indent="-457200" algn="just">
              <a:spcBef>
                <a:spcPts val="435"/>
              </a:spcBef>
              <a:spcAft>
                <a:spcPts val="1200"/>
              </a:spcAft>
              <a:buSzPct val="100000"/>
              <a:buFont typeface="Wingdings" panose="05000000000000000000" pitchFamily="2" charset="2"/>
              <a:buChar char="Ø"/>
            </a:pPr>
            <a:r>
              <a:rPr lang="en-US" sz="2400">
                <a:latin typeface="Times New Roman" panose="02020603050405020304" pitchFamily="18" charset="0"/>
              </a:rPr>
              <a:t>Nhân kỷ niệm 76 năm Ngày Thương binh - Liệt sĩ, đã</a:t>
            </a:r>
            <a:r>
              <a:rPr lang="da-DK" sz="2400">
                <a:latin typeface="Times New Roman" panose="02020603050405020304" pitchFamily="18" charset="0"/>
              </a:rPr>
              <a:t> triển khai </a:t>
            </a:r>
            <a:r>
              <a:rPr lang="vi-VN" sz="2400">
                <a:latin typeface="Times New Roman" panose="02020603050405020304" pitchFamily="18" charset="0"/>
              </a:rPr>
              <a:t>nhiều hoạt động</a:t>
            </a:r>
            <a:endParaRPr lang="da-DK" sz="24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vi-VN" sz="2400">
                <a:latin typeface="Times New Roman" panose="02020603050405020304" pitchFamily="18" charset="0"/>
              </a:rPr>
              <a:t>Tổ chức thành công Diễn đàn “Vai trò của báo chí - truyền thông trong quảng bá thu hút đầu tư vào tỉnh Bình Định”</a:t>
            </a: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63522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 (tt)</a:t>
            </a:r>
            <a:endParaRPr lang="en-US" sz="2800" b="1" spc="-20" dirty="0">
              <a:solidFill>
                <a:srgbClr val="100717"/>
              </a:solidFill>
              <a:latin typeface="Times New Roman" panose="02020603050405020304" pitchFamily="18" charset="0"/>
              <a:cs typeface="Times New Roman" panose="02020603050405020304" pitchFamily="18" charset="0"/>
            </a:endParaRPr>
          </a:p>
        </p:txBody>
      </p:sp>
      <p:pic>
        <p:nvPicPr>
          <p:cNvPr id="7" name="Picture 6" descr="A group of people sitting on a stage&#10;&#10;Description automatically generated">
            <a:extLst>
              <a:ext uri="{FF2B5EF4-FFF2-40B4-BE49-F238E27FC236}">
                <a16:creationId xmlns:a16="http://schemas.microsoft.com/office/drawing/2014/main" id="{3BF8D536-B0E5-D500-AE4C-11140DD8B1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04075" y="3598476"/>
            <a:ext cx="4578969" cy="2952748"/>
          </a:xfrm>
          <a:prstGeom prst="rect">
            <a:avLst/>
          </a:prstGeom>
        </p:spPr>
      </p:pic>
      <p:pic>
        <p:nvPicPr>
          <p:cNvPr id="9" name="Picture 8" descr="A group of people wearing blue shirts and standing in a cemetery&#10;&#10;Description automatically generated">
            <a:extLst>
              <a:ext uri="{FF2B5EF4-FFF2-40B4-BE49-F238E27FC236}">
                <a16:creationId xmlns:a16="http://schemas.microsoft.com/office/drawing/2014/main" id="{DDA4AA86-9886-4A85-803D-4DD81C1022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04075" y="552450"/>
            <a:ext cx="4578969" cy="2952749"/>
          </a:xfrm>
          <a:prstGeom prst="rect">
            <a:avLst/>
          </a:prstGeom>
        </p:spPr>
      </p:pic>
    </p:spTree>
    <p:extLst>
      <p:ext uri="{BB962C8B-B14F-4D97-AF65-F5344CB8AC3E}">
        <p14:creationId xmlns:p14="http://schemas.microsoft.com/office/powerpoint/2010/main" val="8013016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53462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962874068"/>
              </p:ext>
            </p:extLst>
          </p:nvPr>
        </p:nvGraphicFramePr>
        <p:xfrm>
          <a:off x="774972" y="1240966"/>
          <a:ext cx="10923041" cy="4358640"/>
        </p:xfrm>
        <a:graphic>
          <a:graphicData uri="http://schemas.openxmlformats.org/drawingml/2006/table">
            <a:tbl>
              <a:tblPr firstRow="1" bandRow="1"/>
              <a:tblGrid>
                <a:gridCol w="10923041">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800" b="0" kern="1200">
                          <a:solidFill>
                            <a:schemeClr val="dk1"/>
                          </a:solidFill>
                          <a:effectLst/>
                          <a:latin typeface="Times New Roman" panose="02020603050405020304" pitchFamily="18" charset="0"/>
                          <a:ea typeface="+mn-ea"/>
                          <a:cs typeface="Times New Roman" panose="02020603050405020304" pitchFamily="18" charset="0"/>
                        </a:rPr>
                        <a:t>Công tác tiếp dân và xử lý đơn thư khiếu nại, tố cáo thực hiện theo quy chế, giải quyết kịp thời các vụ việc bức xúc, khiếu kiện đông người</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es-ES"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kiểm tra cải cách hành chính, thực thi công vụ tại các cơ quan</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công tác triển khai các kế hoạch bảo vệ các ngày Lễ lớn của tỉnh và cả nước được chú trọ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ập trung chuẩn bị diễn tập quân sự tỉnh năm 2023</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000" spc="-10">
                        <a:solidFill>
                          <a:prstClr val="black"/>
                        </a:solidFill>
                        <a:latin typeface="Times New Roman" pitchFamily="18" charset="0"/>
                        <a:ea typeface="Times New Roman" panose="02020603050405020304" pitchFamily="18" charset="0"/>
                        <a:cs typeface="Times New Roman"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424456270"/>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961714" y="30838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a:t>
            </a:r>
          </a:p>
        </p:txBody>
      </p:sp>
      <p:graphicFrame>
        <p:nvGraphicFramePr>
          <p:cNvPr id="5" name="Object 4">
            <a:extLst>
              <a:ext uri="{FF2B5EF4-FFF2-40B4-BE49-F238E27FC236}">
                <a16:creationId xmlns:a16="http://schemas.microsoft.com/office/drawing/2014/main" id="{E0045843-0063-1FDC-6860-E259C7EB2009}"/>
              </a:ext>
            </a:extLst>
          </p:cNvPr>
          <p:cNvGraphicFramePr>
            <a:graphicFrameLocks noChangeAspect="1"/>
          </p:cNvGraphicFramePr>
          <p:nvPr>
            <p:extLst>
              <p:ext uri="{D42A27DB-BD31-4B8C-83A1-F6EECF244321}">
                <p14:modId xmlns:p14="http://schemas.microsoft.com/office/powerpoint/2010/main" val="2316582022"/>
              </p:ext>
            </p:extLst>
          </p:nvPr>
        </p:nvGraphicFramePr>
        <p:xfrm>
          <a:off x="961714" y="1042987"/>
          <a:ext cx="9886950" cy="4772025"/>
        </p:xfrm>
        <a:graphic>
          <a:graphicData uri="http://schemas.openxmlformats.org/presentationml/2006/ole">
            <mc:AlternateContent xmlns:mc="http://schemas.openxmlformats.org/markup-compatibility/2006">
              <mc:Choice xmlns:v="urn:schemas-microsoft-com:vml" Requires="v">
                <p:oleObj name="Worksheet" r:id="rId3" imgW="9887040" imgH="4771945" progId="Excel.Sheet.12">
                  <p:embed/>
                </p:oleObj>
              </mc:Choice>
              <mc:Fallback>
                <p:oleObj name="Worksheet" r:id="rId3" imgW="9887040" imgH="4771945" progId="Excel.Sheet.12">
                  <p:embed/>
                  <p:pic>
                    <p:nvPicPr>
                      <p:cNvPr id="5" name="Object 4">
                        <a:extLst>
                          <a:ext uri="{FF2B5EF4-FFF2-40B4-BE49-F238E27FC236}">
                            <a16:creationId xmlns:a16="http://schemas.microsoft.com/office/drawing/2014/main" id="{E0045843-0063-1FDC-6860-E259C7EB2009}"/>
                          </a:ext>
                        </a:extLst>
                      </p:cNvPr>
                      <p:cNvPicPr/>
                      <p:nvPr/>
                    </p:nvPicPr>
                    <p:blipFill>
                      <a:blip r:embed="rId4"/>
                      <a:stretch>
                        <a:fillRect/>
                      </a:stretch>
                    </p:blipFill>
                    <p:spPr>
                      <a:xfrm>
                        <a:off x="961714" y="1042987"/>
                        <a:ext cx="9886950" cy="4772025"/>
                      </a:xfrm>
                      <a:prstGeom prst="rect">
                        <a:avLst/>
                      </a:prstGeom>
                    </p:spPr>
                  </p:pic>
                </p:oleObj>
              </mc:Fallback>
            </mc:AlternateContent>
          </a:graphicData>
        </a:graphic>
      </p:graphicFrame>
    </p:spTree>
    <p:extLst>
      <p:ext uri="{BB962C8B-B14F-4D97-AF65-F5344CB8AC3E}">
        <p14:creationId xmlns:p14="http://schemas.microsoft.com/office/powerpoint/2010/main" val="142171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234732" y="659060"/>
            <a:ext cx="289021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9. </a:t>
            </a:r>
            <a:r>
              <a:rPr lang="en-US" sz="2800" b="1" spc="-20" dirty="0" err="1">
                <a:solidFill>
                  <a:srgbClr val="100717"/>
                </a:solidFill>
                <a:latin typeface="Times New Roman" panose="02020603050405020304" pitchFamily="18" charset="0"/>
                <a:cs typeface="Times New Roman" panose="02020603050405020304" pitchFamily="18" charset="0"/>
              </a:rPr>
              <a:t>Qu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hoạ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ỉ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758392998"/>
              </p:ext>
            </p:extLst>
          </p:nvPr>
        </p:nvGraphicFramePr>
        <p:xfrm>
          <a:off x="799853" y="1482485"/>
          <a:ext cx="10592293" cy="4145280"/>
        </p:xfrm>
        <a:graphic>
          <a:graphicData uri="http://schemas.openxmlformats.org/drawingml/2006/table">
            <a:tbl>
              <a:tblPr firstRow="1" bandRow="1"/>
              <a:tblGrid>
                <a:gridCol w="1059229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Đến nay, </a:t>
                      </a:r>
                      <a:r>
                        <a:rPr lang="vi-VN" sz="2400" b="0" kern="1200">
                          <a:solidFill>
                            <a:schemeClr val="dk1"/>
                          </a:solidFill>
                          <a:effectLst/>
                          <a:latin typeface="Times New Roman" panose="02020603050405020304" pitchFamily="18" charset="0"/>
                          <a:ea typeface="+mn-ea"/>
                          <a:cs typeface="Times New Roman" panose="02020603050405020304" pitchFamily="18" charset="0"/>
                        </a:rPr>
                        <a:t>tỉnh Bình Định đã hoàn </a:t>
                      </a:r>
                      <a:r>
                        <a:rPr lang="en-US" sz="2400" b="0" kern="1200">
                          <a:solidFill>
                            <a:schemeClr val="dk1"/>
                          </a:solidFill>
                          <a:effectLst/>
                          <a:latin typeface="Times New Roman" panose="02020603050405020304" pitchFamily="18" charset="0"/>
                          <a:ea typeface="+mn-ea"/>
                          <a:cs typeface="Times New Roman" panose="02020603050405020304" pitchFamily="18" charset="0"/>
                        </a:rPr>
                        <a:t>thành việc lấy ý kiến góp ý của các Bộ, ngành Trung ương và </a:t>
                      </a:r>
                      <a:r>
                        <a:rPr lang="vi-VN" sz="2400" b="0" kern="1200">
                          <a:solidFill>
                            <a:schemeClr val="dk1"/>
                          </a:solidFill>
                          <a:effectLst/>
                          <a:latin typeface="Times New Roman" panose="02020603050405020304" pitchFamily="18" charset="0"/>
                          <a:ea typeface="+mn-ea"/>
                          <a:cs typeface="Times New Roman" panose="02020603050405020304" pitchFamily="18" charset="0"/>
                        </a:rPr>
                        <a:t>các tỉnh, thành phố vùng Bắc Trung Bộ và Duyên hải miền Trung và các tỉnh lân cậ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đã </a:t>
                      </a:r>
                      <a:r>
                        <a:rPr lang="en-US" sz="2400" b="0" kern="1200">
                          <a:solidFill>
                            <a:schemeClr val="dk1"/>
                          </a:solidFill>
                          <a:effectLst/>
                          <a:latin typeface="Times New Roman" panose="02020603050405020304" pitchFamily="18" charset="0"/>
                          <a:ea typeface="+mn-ea"/>
                          <a:cs typeface="Times New Roman" panose="02020603050405020304" pitchFamily="18" charset="0"/>
                        </a:rPr>
                        <a:t>tiếp thu, </a:t>
                      </a:r>
                      <a:r>
                        <a:rPr lang="vi-VN" sz="2400" b="0" kern="1200">
                          <a:solidFill>
                            <a:schemeClr val="dk1"/>
                          </a:solidFill>
                          <a:effectLst/>
                          <a:latin typeface="Times New Roman" panose="02020603050405020304" pitchFamily="18" charset="0"/>
                          <a:ea typeface="+mn-ea"/>
                          <a:cs typeface="Times New Roman" panose="02020603050405020304" pitchFamily="18" charset="0"/>
                        </a:rPr>
                        <a:t>điều chỉnh, bổ sung và hoàn thiện dự thảo báo cáo Quy hoạch tỉnh và trình Hội đồng thẩm định quy hoạch tỉnh. H</a:t>
                      </a:r>
                      <a:r>
                        <a:rPr lang="en-US" sz="2400" b="0" kern="1200">
                          <a:solidFill>
                            <a:schemeClr val="dk1"/>
                          </a:solidFill>
                          <a:effectLst/>
                          <a:latin typeface="Times New Roman" panose="02020603050405020304" pitchFamily="18" charset="0"/>
                          <a:ea typeface="+mn-ea"/>
                          <a:cs typeface="Times New Roman" panose="02020603050405020304" pitchFamily="18" charset="0"/>
                        </a:rPr>
                        <a:t>i</a:t>
                      </a:r>
                      <a:r>
                        <a:rPr lang="vi-VN" sz="2400" b="0" kern="1200">
                          <a:solidFill>
                            <a:schemeClr val="dk1"/>
                          </a:solidFill>
                          <a:effectLst/>
                          <a:latin typeface="Times New Roman" panose="02020603050405020304" pitchFamily="18" charset="0"/>
                          <a:ea typeface="+mn-ea"/>
                          <a:cs typeface="Times New Roman" panose="02020603050405020304" pitchFamily="18" charset="0"/>
                        </a:rPr>
                        <a:t>ện nay</a:t>
                      </a:r>
                      <a:r>
                        <a:rPr lang="en-US" sz="2400" b="0" kern="1200">
                          <a:solidFill>
                            <a:schemeClr val="dk1"/>
                          </a:solidFill>
                          <a:effectLst/>
                          <a:latin typeface="Times New Roman" panose="02020603050405020304" pitchFamily="18" charset="0"/>
                          <a:ea typeface="+mn-ea"/>
                          <a:cs typeface="Times New Roman" panose="02020603050405020304" pitchFamily="18" charset="0"/>
                        </a:rPr>
                        <a:t>,</a:t>
                      </a:r>
                      <a:r>
                        <a:rPr lang="vi-VN" sz="2400" b="0" kern="1200">
                          <a:solidFill>
                            <a:schemeClr val="dk1"/>
                          </a:solidFill>
                          <a:effectLst/>
                          <a:latin typeface="Times New Roman" panose="02020603050405020304" pitchFamily="18" charset="0"/>
                          <a:ea typeface="+mn-ea"/>
                          <a:cs typeface="Times New Roman" panose="02020603050405020304" pitchFamily="18" charset="0"/>
                        </a:rPr>
                        <a:t> Hội đồng thẩm định đang tổ chức lấy ý kiến thẩm định của các Bộ, ngành Trung ương và các chuyên gia</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N</a:t>
                      </a:r>
                      <a:r>
                        <a:rPr lang="vi-VN" sz="2400" b="0" kern="1200">
                          <a:solidFill>
                            <a:schemeClr val="dk1"/>
                          </a:solidFill>
                          <a:effectLst/>
                          <a:latin typeface="Times New Roman" panose="02020603050405020304" pitchFamily="18" charset="0"/>
                          <a:ea typeface="+mn-ea"/>
                          <a:cs typeface="Times New Roman" panose="02020603050405020304" pitchFamily="18" charset="0"/>
                        </a:rPr>
                        <a:t>gày 30/6/2023</a:t>
                      </a:r>
                      <a:r>
                        <a:rPr lang="en-US" sz="2400" b="0" kern="1200">
                          <a:solidFill>
                            <a:schemeClr val="dk1"/>
                          </a:solidFill>
                          <a:effectLst/>
                          <a:latin typeface="Times New Roman" panose="02020603050405020304" pitchFamily="18" charset="0"/>
                          <a:ea typeface="+mn-ea"/>
                          <a:cs typeface="Times New Roman" panose="02020603050405020304" pitchFamily="18" charset="0"/>
                        </a:rPr>
                        <a:t>,</a:t>
                      </a:r>
                      <a:r>
                        <a:rPr lang="vi-VN" sz="2400" b="0" kern="1200">
                          <a:solidFill>
                            <a:schemeClr val="dk1"/>
                          </a:solidFill>
                          <a:effectLst/>
                          <a:latin typeface="Times New Roman" panose="02020603050405020304" pitchFamily="18" charset="0"/>
                          <a:ea typeface="+mn-ea"/>
                          <a:cs typeface="Times New Roman" panose="02020603050405020304" pitchFamily="18" charset="0"/>
                        </a:rPr>
                        <a:t> Hội đồng thẩm định </a:t>
                      </a:r>
                      <a:r>
                        <a:rPr lang="en-US" sz="2400" b="0" kern="1200">
                          <a:solidFill>
                            <a:schemeClr val="dk1"/>
                          </a:solidFill>
                          <a:effectLst/>
                          <a:latin typeface="Times New Roman" panose="02020603050405020304" pitchFamily="18" charset="0"/>
                          <a:ea typeface="+mn-ea"/>
                          <a:cs typeface="Times New Roman" panose="02020603050405020304" pitchFamily="18" charset="0"/>
                        </a:rPr>
                        <a:t>h</a:t>
                      </a:r>
                      <a:r>
                        <a:rPr lang="vi-VN" sz="2400" b="0" kern="1200">
                          <a:solidFill>
                            <a:schemeClr val="dk1"/>
                          </a:solidFill>
                          <a:effectLst/>
                          <a:latin typeface="Times New Roman" panose="02020603050405020304" pitchFamily="18" charset="0"/>
                          <a:ea typeface="+mn-ea"/>
                          <a:cs typeface="Times New Roman" panose="02020603050405020304" pitchFamily="18" charset="0"/>
                        </a:rPr>
                        <a:t>ọp tham vấn ý kiến đối với Báo cáo đánh giá môi trường chiến lược của </a:t>
                      </a:r>
                      <a:r>
                        <a:rPr lang="en-US" sz="2400" b="0" kern="1200">
                          <a:solidFill>
                            <a:schemeClr val="dk1"/>
                          </a:solidFill>
                          <a:effectLst/>
                          <a:latin typeface="Times New Roman" panose="02020603050405020304" pitchFamily="18" charset="0"/>
                          <a:ea typeface="+mn-ea"/>
                          <a:cs typeface="Times New Roman" panose="02020603050405020304" pitchFamily="18" charset="0"/>
                        </a:rPr>
                        <a:t>Q</a:t>
                      </a:r>
                      <a:r>
                        <a:rPr lang="vi-VN" sz="2400" b="0" kern="1200">
                          <a:solidFill>
                            <a:schemeClr val="dk1"/>
                          </a:solidFill>
                          <a:effectLst/>
                          <a:latin typeface="Times New Roman" panose="02020603050405020304" pitchFamily="18" charset="0"/>
                          <a:ea typeface="+mn-ea"/>
                          <a:cs typeface="Times New Roman" panose="02020603050405020304" pitchFamily="18" charset="0"/>
                        </a:rPr>
                        <a:t>uy hoạch tỉnh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Dự kiến ngày 02/8/2023 sẽ tổ chức phiên họp thẩm định </a:t>
                      </a:r>
                      <a:r>
                        <a:rPr lang="en-US" sz="2400" b="0" kern="1200">
                          <a:solidFill>
                            <a:schemeClr val="dk1"/>
                          </a:solidFill>
                          <a:effectLst/>
                          <a:latin typeface="Times New Roman" panose="02020603050405020304" pitchFamily="18" charset="0"/>
                          <a:ea typeface="+mn-ea"/>
                          <a:cs typeface="Times New Roman" panose="02020603050405020304" pitchFamily="18" charset="0"/>
                        </a:rPr>
                        <a:t>Q</a:t>
                      </a:r>
                      <a:r>
                        <a:rPr lang="vi-VN" sz="2400" b="0" kern="1200">
                          <a:solidFill>
                            <a:schemeClr val="dk1"/>
                          </a:solidFill>
                          <a:effectLst/>
                          <a:latin typeface="Times New Roman" panose="02020603050405020304" pitchFamily="18" charset="0"/>
                          <a:ea typeface="+mn-ea"/>
                          <a:cs typeface="Times New Roman" panose="02020603050405020304" pitchFamily="18" charset="0"/>
                        </a:rPr>
                        <a:t>uy hoạch tỉnh</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379701318"/>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529679861"/>
              </p:ext>
            </p:extLst>
          </p:nvPr>
        </p:nvGraphicFramePr>
        <p:xfrm>
          <a:off x="675909" y="1070230"/>
          <a:ext cx="10869335" cy="54072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A8A7AAAD-1102-9C56-9BCD-B12686BF79EE}"/>
              </a:ext>
            </a:extLst>
          </p:cNvPr>
          <p:cNvSpPr txBox="1"/>
          <p:nvPr/>
        </p:nvSpPr>
        <p:spPr>
          <a:xfrm>
            <a:off x="675909" y="304998"/>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I – KẾT QUẢ ĐẠT ĐƯỢC: MỘT SỐ KẾT QUẢ NỔI BẬT 7 THÁNG NĂM 2023</a:t>
            </a:r>
          </a:p>
        </p:txBody>
      </p:sp>
    </p:spTree>
    <p:extLst>
      <p:ext uri="{BB962C8B-B14F-4D97-AF65-F5344CB8AC3E}">
        <p14:creationId xmlns:p14="http://schemas.microsoft.com/office/powerpoint/2010/main" val="340261264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311155650"/>
              </p:ext>
            </p:extLst>
          </p:nvPr>
        </p:nvGraphicFramePr>
        <p:xfrm>
          <a:off x="404230" y="1157682"/>
          <a:ext cx="11382302" cy="52095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B1B170EA-ACEE-98CB-EB09-143E5BB6A3C8}"/>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V – TỒN TẠI, HẠN CHẾ: Bên cạnh kết quả đạt được còn một số tồn tại, hạn chế:</a:t>
            </a:r>
          </a:p>
        </p:txBody>
      </p:sp>
    </p:spTree>
    <p:extLst>
      <p:ext uri="{BB962C8B-B14F-4D97-AF65-F5344CB8AC3E}">
        <p14:creationId xmlns:p14="http://schemas.microsoft.com/office/powerpoint/2010/main" val="6684780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8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5">
            <a:extLst>
              <a:ext uri="{FF2B5EF4-FFF2-40B4-BE49-F238E27FC236}">
                <a16:creationId xmlns:a16="http://schemas.microsoft.com/office/drawing/2014/main" id="{A091C242-D65F-E0C5-16D6-B15756DA14A6}"/>
              </a:ext>
            </a:extLst>
          </p:cNvPr>
          <p:cNvGraphicFramePr>
            <a:graphicFrameLocks noGrp="1"/>
          </p:cNvGraphicFramePr>
          <p:nvPr>
            <p:ph idx="1"/>
            <p:extLst>
              <p:ext uri="{D42A27DB-BD31-4B8C-83A1-F6EECF244321}">
                <p14:modId xmlns:p14="http://schemas.microsoft.com/office/powerpoint/2010/main" val="3570776685"/>
              </p:ext>
            </p:extLst>
          </p:nvPr>
        </p:nvGraphicFramePr>
        <p:xfrm>
          <a:off x="390525" y="704851"/>
          <a:ext cx="11347385" cy="60131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8ABE98AF-889B-3986-A76F-E752CFDE7CA1}"/>
              </a:ext>
            </a:extLst>
          </p:cNvPr>
          <p:cNvSpPr txBox="1"/>
          <p:nvPr/>
        </p:nvSpPr>
        <p:spPr>
          <a:xfrm>
            <a:off x="915958" y="103745"/>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NHIỆM VỤ TRỌNG TÂM THÁNG 8 NĂM 2023</a:t>
            </a:r>
          </a:p>
        </p:txBody>
      </p:sp>
    </p:spTree>
    <p:extLst>
      <p:ext uri="{BB962C8B-B14F-4D97-AF65-F5344CB8AC3E}">
        <p14:creationId xmlns:p14="http://schemas.microsoft.com/office/powerpoint/2010/main" val="965437266"/>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5">
            <a:extLst>
              <a:ext uri="{FF2B5EF4-FFF2-40B4-BE49-F238E27FC236}">
                <a16:creationId xmlns:a16="http://schemas.microsoft.com/office/drawing/2014/main" id="{A091C242-D65F-E0C5-16D6-B15756DA14A6}"/>
              </a:ext>
            </a:extLst>
          </p:cNvPr>
          <p:cNvGraphicFramePr>
            <a:graphicFrameLocks noGrp="1"/>
          </p:cNvGraphicFramePr>
          <p:nvPr>
            <p:ph idx="1"/>
            <p:extLst>
              <p:ext uri="{D42A27DB-BD31-4B8C-83A1-F6EECF244321}">
                <p14:modId xmlns:p14="http://schemas.microsoft.com/office/powerpoint/2010/main" val="3198451493"/>
              </p:ext>
            </p:extLst>
          </p:nvPr>
        </p:nvGraphicFramePr>
        <p:xfrm>
          <a:off x="551793" y="583324"/>
          <a:ext cx="11186117" cy="6101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56DF41F-358C-7E5B-B295-5B611C2AF0FC}"/>
              </a:ext>
            </a:extLst>
          </p:cNvPr>
          <p:cNvSpPr txBox="1"/>
          <p:nvPr/>
        </p:nvSpPr>
        <p:spPr>
          <a:xfrm>
            <a:off x="915958" y="103745"/>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NHIỆM VỤ TRỌNG TÂM THÁNG 8 NĂM 2023</a:t>
            </a:r>
          </a:p>
        </p:txBody>
      </p:sp>
    </p:spTree>
    <p:extLst>
      <p:ext uri="{BB962C8B-B14F-4D97-AF65-F5344CB8AC3E}">
        <p14:creationId xmlns:p14="http://schemas.microsoft.com/office/powerpoint/2010/main" val="313383168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5">
            <a:extLst>
              <a:ext uri="{FF2B5EF4-FFF2-40B4-BE49-F238E27FC236}">
                <a16:creationId xmlns:a16="http://schemas.microsoft.com/office/drawing/2014/main" id="{A091C242-D65F-E0C5-16D6-B15756DA14A6}"/>
              </a:ext>
            </a:extLst>
          </p:cNvPr>
          <p:cNvGraphicFramePr>
            <a:graphicFrameLocks noGrp="1"/>
          </p:cNvGraphicFramePr>
          <p:nvPr>
            <p:ph idx="1"/>
            <p:extLst>
              <p:ext uri="{D42A27DB-BD31-4B8C-83A1-F6EECF244321}">
                <p14:modId xmlns:p14="http://schemas.microsoft.com/office/powerpoint/2010/main" val="3670683814"/>
              </p:ext>
            </p:extLst>
          </p:nvPr>
        </p:nvGraphicFramePr>
        <p:xfrm>
          <a:off x="742950" y="1228725"/>
          <a:ext cx="10899710" cy="53128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E2D6E028-6B85-920F-60C1-964725A052CC}"/>
              </a:ext>
            </a:extLst>
          </p:cNvPr>
          <p:cNvSpPr txBox="1"/>
          <p:nvPr/>
        </p:nvSpPr>
        <p:spPr>
          <a:xfrm>
            <a:off x="915958" y="103745"/>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NHIỆM VỤ TRỌNG TÂM THÁNG 8 NĂM 2023</a:t>
            </a:r>
          </a:p>
        </p:txBody>
      </p:sp>
    </p:spTree>
    <p:extLst>
      <p:ext uri="{BB962C8B-B14F-4D97-AF65-F5344CB8AC3E}">
        <p14:creationId xmlns:p14="http://schemas.microsoft.com/office/powerpoint/2010/main" val="81943896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523220"/>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ĐỀ XUẤT, KIẾN NGHỊ</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3</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1368355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268449" y="195420"/>
            <a:ext cx="1184148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dirty="0">
                <a:ea typeface="+mn-ea"/>
                <a:cs typeface="Arial" panose="020B0604020202020204" pitchFamily="34" charset="0"/>
              </a:rPr>
              <a:t>01</a:t>
            </a:r>
            <a:r>
              <a:rPr lang="vi-VN" sz="2800" b="1">
                <a:ea typeface="+mn-ea"/>
                <a:cs typeface="Arial" panose="020B0604020202020204" pitchFamily="34" charset="0"/>
              </a:rPr>
              <a:t>. Cần thiết phải xác định được giá cho thuê hợp lý ở các</a:t>
            </a:r>
            <a:r>
              <a:rPr lang="vi-VN" sz="2800" b="1">
                <a:latin typeface="Times New Roman" pitchFamily="18" charset="0"/>
                <a:ea typeface="+mn-ea"/>
                <a:cs typeface="Times New Roman" pitchFamily="18" charset="0"/>
              </a:rPr>
              <a:t> Khu Công nghiệp, Cụm Công nghiệp</a:t>
            </a:r>
            <a:r>
              <a:rPr lang="vi-VN" sz="2800" b="1">
                <a:ea typeface="+mn-ea"/>
                <a:cs typeface="Arial" panose="020B0604020202020204" pitchFamily="34" charset="0"/>
              </a:rPr>
              <a:t> </a:t>
            </a:r>
          </a:p>
          <a:p>
            <a:pPr>
              <a:lnSpc>
                <a:spcPct val="100000"/>
              </a:lnSpc>
            </a:pPr>
            <a:endParaRPr lang="vi-VN" sz="3200" b="1" dirty="0">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dirty="0">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68449" y="1277451"/>
            <a:ext cx="11646231" cy="5801588"/>
          </a:xfrm>
          <a:prstGeom prst="rect">
            <a:avLst/>
          </a:prstGeom>
          <a:noFill/>
        </p:spPr>
        <p:txBody>
          <a:bodyPr wrap="square" rtlCol="0">
            <a:spAutoFit/>
          </a:bodyPr>
          <a:lstStyle/>
          <a:p>
            <a:pPr lvl="0" algn="just">
              <a:spcBef>
                <a:spcPts val="600"/>
              </a:spcBef>
              <a:spcAft>
                <a:spcPts val="600"/>
              </a:spcAft>
            </a:pPr>
            <a:r>
              <a:rPr lang="vi-VN" sz="2200">
                <a:solidFill>
                  <a:schemeClr val="dk1"/>
                </a:solidFill>
                <a:latin typeface="Times New Roman" panose="02020603050405020304" pitchFamily="18" charset="0"/>
                <a:cs typeface="Times New Roman" panose="02020603050405020304" pitchFamily="18" charset="0"/>
              </a:rPr>
              <a:t>Hiện nay qua nắm bắt tình hình thực tế thu hút đầu tư trên địa bàn tỉnh, Sở Kế hoạch và Đầu tư nhận thấy còn một số vấn đề ảnh hưởng đến hiệu quả thu hút đầu tư tại các KCN, CCN như sau:</a:t>
            </a:r>
          </a:p>
          <a:p>
            <a:pPr lvl="0" algn="just">
              <a:spcBef>
                <a:spcPts val="600"/>
              </a:spcBef>
              <a:spcAft>
                <a:spcPts val="600"/>
              </a:spcAft>
            </a:pPr>
            <a:r>
              <a:rPr lang="vi-VN" sz="2200">
                <a:solidFill>
                  <a:schemeClr val="dk1"/>
                </a:solidFill>
                <a:latin typeface="Times New Roman" panose="02020603050405020304" pitchFamily="18" charset="0"/>
                <a:cs typeface="Times New Roman" panose="02020603050405020304" pitchFamily="18" charset="0"/>
              </a:rPr>
              <a:t>     (i) Đa số các quỹ đất đều chưa có sẵn, còn vướng giải phóng mặt bằng, chưa đồng bộ cơ sở hạ tầng điện, nước, xử lý chất thải… , nhất là quỹ đất thuộc các cụm công nghiệp.</a:t>
            </a:r>
          </a:p>
          <a:p>
            <a:pPr lvl="0" algn="just">
              <a:spcBef>
                <a:spcPts val="600"/>
              </a:spcBef>
              <a:spcAft>
                <a:spcPts val="600"/>
              </a:spcAft>
              <a:buNone/>
            </a:pPr>
            <a:r>
              <a:rPr lang="vi-VN" sz="2200">
                <a:solidFill>
                  <a:schemeClr val="dk1"/>
                </a:solidFill>
                <a:latin typeface="Times New Roman" panose="02020603050405020304" pitchFamily="18" charset="0"/>
                <a:cs typeface="Times New Roman" panose="02020603050405020304" pitchFamily="18" charset="0"/>
              </a:rPr>
              <a:t>     (ii) Một số Khu, Cụm Công nghiệp trên địa bàn tỉnh hiện nay có giá cho thuê đất gắn kết cấu hạ tầng và giá dịch vụ hạ tầng còn cao theo nhận định của nhiều nhà đầu tư mà cụ thể là KCN Nhơn Hòa, KCN Nhơn Hội A, KCN Hòa Hội, CCN Cầu Nước Xanh…</a:t>
            </a:r>
          </a:p>
          <a:p>
            <a:pPr marL="342900" indent="-342900" algn="just">
              <a:spcBef>
                <a:spcPts val="1800"/>
              </a:spcBef>
              <a:spcAft>
                <a:spcPts val="600"/>
              </a:spcAft>
              <a:buFont typeface="Symbol" panose="05050102010706020507" pitchFamily="18" charset="2"/>
              <a:buChar char="Þ"/>
            </a:pPr>
            <a:r>
              <a:rPr lang="vi-VN" sz="2200">
                <a:solidFill>
                  <a:prstClr val="black">
                    <a:hueOff val="0"/>
                    <a:satOff val="0"/>
                    <a:lumOff val="0"/>
                    <a:alphaOff val="0"/>
                  </a:prstClr>
                </a:solidFill>
                <a:latin typeface="Times New Roman" panose="02020603050405020304" pitchFamily="18" charset="0"/>
                <a:cs typeface="Times New Roman" panose="02020603050405020304" pitchFamily="18" charset="0"/>
              </a:rPr>
              <a:t>Do đó, cần thiết phải xác định được giá cho thuê hợp lý ở các Khu Công nghiệp, Cụm Công nghiệp. </a:t>
            </a:r>
            <a:r>
              <a:rPr lang="vi-VN" sz="2200" kern="1200">
                <a:solidFill>
                  <a:schemeClr val="dk1"/>
                </a:solidFill>
                <a:effectLst/>
                <a:latin typeface="Times New Roman" panose="02020603050405020304" pitchFamily="18" charset="0"/>
                <a:ea typeface="+mn-ea"/>
                <a:cs typeface="Times New Roman" panose="02020603050405020304" pitchFamily="18" charset="0"/>
              </a:rPr>
              <a:t>Kính đề nghị UBND tỉnh</a:t>
            </a:r>
            <a:r>
              <a:rPr lang="vi-VN" sz="2200" kern="1200">
                <a:solidFill>
                  <a:schemeClr val="dk1"/>
                </a:solidFill>
                <a:effectLst/>
                <a:latin typeface="Times New Roman" pitchFamily="18" charset="0"/>
                <a:cs typeface="Times New Roman" pitchFamily="18" charset="0"/>
              </a:rPr>
              <a:t> g</a:t>
            </a:r>
            <a:r>
              <a:rPr lang="vi-VN" sz="2200">
                <a:latin typeface="Times New Roman" pitchFamily="18" charset="0"/>
                <a:cs typeface="Times New Roman" pitchFamily="18" charset="0"/>
              </a:rPr>
              <a:t>iao Ban Quản lý Khu kinh tế tỉnh chủ trì làm việc với các chủ đầu tư hạ tầng, thực hiện rà soát, kiểm tra suất đầu tư, mức định giá cho thuê hạ tầng (</a:t>
            </a:r>
            <a:r>
              <a:rPr lang="vi-VN" sz="2200" i="1">
                <a:latin typeface="Times New Roman" pitchFamily="18" charset="0"/>
                <a:cs typeface="Times New Roman" pitchFamily="18" charset="0"/>
              </a:rPr>
              <a:t>căn cứ Khoản 4 Điều 27 Nghị định 35/2022/NĐ-CP của Chính phủ về quy định về quản lý Khu Công nghiệp và Khu Kinh tế</a:t>
            </a:r>
            <a:r>
              <a:rPr lang="vi-VN" sz="2200">
                <a:latin typeface="Times New Roman" pitchFamily="18" charset="0"/>
                <a:cs typeface="Times New Roman" pitchFamily="18" charset="0"/>
              </a:rPr>
              <a:t>), kiểm tra khả năng đáp ứng cơ sở hạ tầng, tiến độ đầu tư theo quy định tại các KCN trên địa bàn tỉnh; phối hợp với các chủ đầu tư hạ tầng đề xuất UBND tỉnh mức giá phù hợp để thúc đẩy thu hút đầu tư</a:t>
            </a:r>
            <a:endParaRPr lang="en-US" sz="3000" dirty="0">
              <a:latin typeface="Times New Roman" pitchFamily="18" charset="0"/>
              <a:cs typeface="Times New Roman" pitchFamily="18" charset="0"/>
            </a:endParaRPr>
          </a:p>
          <a:p>
            <a:pPr algn="just"/>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4089019163"/>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717204" y="409876"/>
            <a:ext cx="1097446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3600" b="1" dirty="0">
                <a:ea typeface="+mn-ea"/>
                <a:cs typeface="Arial" panose="020B0604020202020204" pitchFamily="34" charset="0"/>
              </a:rPr>
              <a:t>02</a:t>
            </a:r>
            <a:r>
              <a:rPr lang="vi-VN" sz="3600" b="1">
                <a:ea typeface="+mn-ea"/>
                <a:cs typeface="Arial" panose="020B0604020202020204" pitchFamily="34" charset="0"/>
              </a:rPr>
              <a:t>. </a:t>
            </a:r>
            <a:r>
              <a:rPr lang="vi-VN" sz="3600" b="1">
                <a:solidFill>
                  <a:schemeClr val="dk1"/>
                </a:solidFill>
                <a:ea typeface="+mn-ea"/>
                <a:cs typeface="Times New Roman" panose="02020603050405020304" pitchFamily="18" charset="0"/>
              </a:rPr>
              <a:t>T</a:t>
            </a:r>
            <a:r>
              <a:rPr lang="vi-VN" sz="3600" b="1" kern="1200">
                <a:solidFill>
                  <a:schemeClr val="dk1"/>
                </a:solidFill>
                <a:effectLst/>
                <a:ea typeface="+mn-ea"/>
                <a:cs typeface="Times New Roman" panose="02020603050405020304" pitchFamily="18" charset="0"/>
              </a:rPr>
              <a:t>hu hút đầu tư trên lĩnh vực Nông nghiệp </a:t>
            </a:r>
            <a:endParaRPr lang="vi-VN" sz="3600" b="1" dirty="0">
              <a:solidFill>
                <a:srgbClr val="064273"/>
              </a:solidFill>
              <a:ea typeface="+mn-ea"/>
              <a:cs typeface="Arial" panose="020B0604020202020204" pitchFamily="34" charset="0"/>
            </a:endParaRPr>
          </a:p>
        </p:txBody>
      </p:sp>
      <p:sp>
        <p:nvSpPr>
          <p:cNvPr id="4" name="TextBox 3"/>
          <p:cNvSpPr txBox="1"/>
          <p:nvPr/>
        </p:nvSpPr>
        <p:spPr>
          <a:xfrm>
            <a:off x="582398" y="1428452"/>
            <a:ext cx="11244076" cy="4431983"/>
          </a:xfrm>
          <a:prstGeom prst="rect">
            <a:avLst/>
          </a:prstGeom>
          <a:noFill/>
        </p:spPr>
        <p:txBody>
          <a:bodyPr wrap="square" rtlCol="0">
            <a:spAutoFit/>
          </a:bodyPr>
          <a:lstStyle/>
          <a:p>
            <a:pPr lvl="0" algn="just">
              <a:buNone/>
            </a:pPr>
            <a:r>
              <a:rPr lang="vi-VN" sz="2800" b="0" kern="1200">
                <a:solidFill>
                  <a:schemeClr val="dk1"/>
                </a:solidFill>
                <a:effectLst/>
                <a:latin typeface="Times New Roman" panose="02020603050405020304" pitchFamily="18" charset="0"/>
                <a:ea typeface="+mn-ea"/>
                <a:cs typeface="Times New Roman" panose="02020603050405020304" pitchFamily="18" charset="0"/>
              </a:rPr>
              <a:t>Hiện nay, tình hình thu hút đầu tư trên lĩnh vực Nông nghiệp tại tỉnh có nhiều chuyển biến tích cực, trong thời gian qua có một số Nhà đầu tư mong muốn tìm hiểu cơ hội đầu tư tại tỉnh.</a:t>
            </a:r>
          </a:p>
          <a:p>
            <a:pPr lvl="0" algn="just">
              <a:buNone/>
            </a:pP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p>
            <a:pPr lvl="0" algn="just">
              <a:buNone/>
            </a:pPr>
            <a:r>
              <a:rPr lang="vi-VN" sz="2800" b="1">
                <a:solidFill>
                  <a:prstClr val="black">
                    <a:hueOff val="0"/>
                    <a:satOff val="0"/>
                    <a:lumOff val="0"/>
                    <a:alphaOff val="0"/>
                  </a:prstClr>
                </a:solidFill>
                <a:latin typeface="Times New Roman" panose="02020603050405020304" pitchFamily="18" charset="0"/>
                <a:cs typeface="Times New Roman" panose="02020603050405020304" pitchFamily="18" charset="0"/>
              </a:rPr>
              <a:t>=&gt;</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 </a:t>
            </a:r>
            <a:r>
              <a:rPr lang="vi-VN" sz="2800" b="1" i="1" kern="1200">
                <a:solidFill>
                  <a:schemeClr val="dk1"/>
                </a:solidFill>
                <a:effectLst/>
                <a:latin typeface="Times New Roman" panose="02020603050405020304" pitchFamily="18" charset="0"/>
                <a:ea typeface="+mn-ea"/>
                <a:cs typeface="Times New Roman" panose="02020603050405020304" pitchFamily="18" charset="0"/>
              </a:rPr>
              <a:t>Kính đề nghị UBND tỉnh chỉ đạo các Sở, ngành và UBND các huyện, thị xã, thành phố trong thời gian tới tích cực hướng dẫn, hỗ trợ, tạo điều kiện thuận lợi về quỹ đất, giải phóng mặt bằng... cho các doanh nghiệp tìm kiếm cơ hội đầu tư trên địa bàn tỉnh</a:t>
            </a:r>
            <a:endParaRPr lang="en-US" sz="2800" b="1" i="1"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457200" indent="-457200" algn="just">
              <a:spcBef>
                <a:spcPts val="1200"/>
              </a:spcBef>
              <a:buFontTx/>
              <a:buChar char="-"/>
            </a:pPr>
            <a:endParaRPr lang="en-US" sz="3000" dirty="0">
              <a:latin typeface="Times New Roman" pitchFamily="18" charset="0"/>
              <a:cs typeface="Times New Roman" pitchFamily="18" charset="0"/>
            </a:endParaRPr>
          </a:p>
          <a:p>
            <a:pPr algn="just"/>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1226671799"/>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12247637-6FF1-DA1B-ADA0-92BEB9DE1D80}"/>
              </a:ext>
            </a:extLst>
          </p:cNvPr>
          <p:cNvSpPr txBox="1"/>
          <p:nvPr/>
        </p:nvSpPr>
        <p:spPr>
          <a:xfrm>
            <a:off x="683965" y="23187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4" name="Object 3">
            <a:extLst>
              <a:ext uri="{FF2B5EF4-FFF2-40B4-BE49-F238E27FC236}">
                <a16:creationId xmlns:a16="http://schemas.microsoft.com/office/drawing/2014/main" id="{ED4E1245-B487-6521-8D6F-355EA335D161}"/>
              </a:ext>
            </a:extLst>
          </p:cNvPr>
          <p:cNvGraphicFramePr>
            <a:graphicFrameLocks noChangeAspect="1"/>
          </p:cNvGraphicFramePr>
          <p:nvPr>
            <p:extLst>
              <p:ext uri="{D42A27DB-BD31-4B8C-83A1-F6EECF244321}">
                <p14:modId xmlns:p14="http://schemas.microsoft.com/office/powerpoint/2010/main" val="3956584444"/>
              </p:ext>
            </p:extLst>
          </p:nvPr>
        </p:nvGraphicFramePr>
        <p:xfrm>
          <a:off x="842132" y="820062"/>
          <a:ext cx="9886950" cy="5429250"/>
        </p:xfrm>
        <a:graphic>
          <a:graphicData uri="http://schemas.openxmlformats.org/presentationml/2006/ole">
            <mc:AlternateContent xmlns:mc="http://schemas.openxmlformats.org/markup-compatibility/2006">
              <mc:Choice xmlns:v="urn:schemas-microsoft-com:vml" Requires="v">
                <p:oleObj name="Worksheet" r:id="rId3" imgW="9887040" imgH="5429090" progId="Excel.Sheet.12">
                  <p:embed/>
                </p:oleObj>
              </mc:Choice>
              <mc:Fallback>
                <p:oleObj name="Worksheet" r:id="rId3" imgW="9887040" imgH="5429090" progId="Excel.Sheet.12">
                  <p:embed/>
                  <p:pic>
                    <p:nvPicPr>
                      <p:cNvPr id="4" name="Object 3">
                        <a:extLst>
                          <a:ext uri="{FF2B5EF4-FFF2-40B4-BE49-F238E27FC236}">
                            <a16:creationId xmlns:a16="http://schemas.microsoft.com/office/drawing/2014/main" id="{ED4E1245-B487-6521-8D6F-355EA335D161}"/>
                          </a:ext>
                        </a:extLst>
                      </p:cNvPr>
                      <p:cNvPicPr/>
                      <p:nvPr/>
                    </p:nvPicPr>
                    <p:blipFill>
                      <a:blip r:embed="rId4"/>
                      <a:stretch>
                        <a:fillRect/>
                      </a:stretch>
                    </p:blipFill>
                    <p:spPr>
                      <a:xfrm>
                        <a:off x="842132" y="820062"/>
                        <a:ext cx="9886950" cy="5429250"/>
                      </a:xfrm>
                      <a:prstGeom prst="rect">
                        <a:avLst/>
                      </a:prstGeom>
                    </p:spPr>
                  </p:pic>
                </p:oleObj>
              </mc:Fallback>
            </mc:AlternateContent>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F99C3A99-3E83-02AA-4F66-9882F4B54011}"/>
              </a:ext>
            </a:extLst>
          </p:cNvPr>
          <p:cNvSpPr txBox="1"/>
          <p:nvPr/>
        </p:nvSpPr>
        <p:spPr>
          <a:xfrm>
            <a:off x="683964" y="231872"/>
            <a:ext cx="1033916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2" name="Object 1">
            <a:extLst>
              <a:ext uri="{FF2B5EF4-FFF2-40B4-BE49-F238E27FC236}">
                <a16:creationId xmlns:a16="http://schemas.microsoft.com/office/drawing/2014/main" id="{87C87775-EA25-4CD9-C0F4-6B11BD58E23A}"/>
              </a:ext>
            </a:extLst>
          </p:cNvPr>
          <p:cNvGraphicFramePr>
            <a:graphicFrameLocks noChangeAspect="1"/>
          </p:cNvGraphicFramePr>
          <p:nvPr>
            <p:extLst>
              <p:ext uri="{D42A27DB-BD31-4B8C-83A1-F6EECF244321}">
                <p14:modId xmlns:p14="http://schemas.microsoft.com/office/powerpoint/2010/main" val="4225961477"/>
              </p:ext>
            </p:extLst>
          </p:nvPr>
        </p:nvGraphicFramePr>
        <p:xfrm>
          <a:off x="842133" y="1291148"/>
          <a:ext cx="9886950" cy="3819525"/>
        </p:xfrm>
        <a:graphic>
          <a:graphicData uri="http://schemas.openxmlformats.org/presentationml/2006/ole">
            <mc:AlternateContent xmlns:mc="http://schemas.openxmlformats.org/markup-compatibility/2006">
              <mc:Choice xmlns:v="urn:schemas-microsoft-com:vml" Requires="v">
                <p:oleObj name="Worksheet" r:id="rId3" imgW="9887040" imgH="3819498" progId="Excel.Sheet.12">
                  <p:embed/>
                </p:oleObj>
              </mc:Choice>
              <mc:Fallback>
                <p:oleObj name="Worksheet" r:id="rId3" imgW="9887040" imgH="3819498" progId="Excel.Sheet.12">
                  <p:embed/>
                  <p:pic>
                    <p:nvPicPr>
                      <p:cNvPr id="2" name="Object 1">
                        <a:extLst>
                          <a:ext uri="{FF2B5EF4-FFF2-40B4-BE49-F238E27FC236}">
                            <a16:creationId xmlns:a16="http://schemas.microsoft.com/office/drawing/2014/main" id="{87C87775-EA25-4CD9-C0F4-6B11BD58E23A}"/>
                          </a:ext>
                        </a:extLst>
                      </p:cNvPr>
                      <p:cNvPicPr/>
                      <p:nvPr/>
                    </p:nvPicPr>
                    <p:blipFill>
                      <a:blip r:embed="rId4"/>
                      <a:stretch>
                        <a:fillRect/>
                      </a:stretch>
                    </p:blipFill>
                    <p:spPr>
                      <a:xfrm>
                        <a:off x="842133" y="1291148"/>
                        <a:ext cx="9886950" cy="3819525"/>
                      </a:xfrm>
                      <a:prstGeom prst="rect">
                        <a:avLst/>
                      </a:prstGeom>
                    </p:spPr>
                  </p:pic>
                </p:oleObj>
              </mc:Fallback>
            </mc:AlternateContent>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375080205"/>
              </p:ext>
            </p:extLst>
          </p:nvPr>
        </p:nvGraphicFramePr>
        <p:xfrm>
          <a:off x="302172" y="2497778"/>
          <a:ext cx="11587655" cy="301752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Diện tích gieo trồng cây lúa là 41.545,4 ha, giảm 2,6% (tương đương giảm 1.104 ha)</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Đến nay, đã thu hoạch được 4.074 ha, tập trung ở các huyện Phù Mỹ, Phù Cát và thị xã Hoài Nhơ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Diện tích gieo trồng một số cây trồng cạn chủ yếu vụ Hè Thu 2023 như sau: Cây ngô đạt 3.977,1 ha, tăng 12,5% (+443 ha); cây lạc đạt 1.831,7 ha, tăng 7,4% (+126 ha); rau các loại đạt 5.759,5 ha, tăng 13,8% (+698 ha); đậu các loại đạt 618,5 ha, giảm 7,8% (-52 ha) 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284336" y="1880095"/>
            <a:ext cx="2134943"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 </a:t>
            </a:r>
            <a:r>
              <a:rPr lang="en-US" sz="2400" b="1" spc="-20" err="1">
                <a:solidFill>
                  <a:srgbClr val="100717"/>
                </a:solidFill>
                <a:latin typeface="Times New Roman" panose="02020603050405020304" pitchFamily="18" charset="0"/>
                <a:cs typeface="Times New Roman" panose="02020603050405020304" pitchFamily="18" charset="0"/>
              </a:rPr>
              <a:t>Vụ</a:t>
            </a:r>
            <a:r>
              <a:rPr lang="en-US" sz="2400" b="1" spc="-20">
                <a:solidFill>
                  <a:srgbClr val="100717"/>
                </a:solidFill>
                <a:latin typeface="Times New Roman" panose="02020603050405020304" pitchFamily="18" charset="0"/>
                <a:cs typeface="Times New Roman" panose="02020603050405020304" pitchFamily="18" charset="0"/>
              </a:rPr>
              <a:t> Hè - Thu</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316950" y="625616"/>
            <a:ext cx="1606722"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b) </a:t>
            </a:r>
            <a:r>
              <a:rPr lang="en-US" sz="2400" b="1" spc="-20" err="1">
                <a:solidFill>
                  <a:srgbClr val="100717"/>
                </a:solidFill>
                <a:latin typeface="Times New Roman" panose="02020603050405020304" pitchFamily="18" charset="0"/>
                <a:cs typeface="Times New Roman" panose="02020603050405020304" pitchFamily="18" charset="0"/>
              </a:rPr>
              <a:t>Vụ</a:t>
            </a:r>
            <a:r>
              <a:rPr lang="en-US" sz="2400" b="1" spc="-20">
                <a:solidFill>
                  <a:srgbClr val="100717"/>
                </a:solidFill>
                <a:latin typeface="Times New Roman" panose="02020603050405020304" pitchFamily="18" charset="0"/>
                <a:cs typeface="Times New Roman" panose="02020603050405020304" pitchFamily="18" charset="0"/>
              </a:rPr>
              <a:t> Mùa</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id="{9B1EE58E-003F-122B-AAA3-4CD0DC67997A}"/>
              </a:ext>
            </a:extLst>
          </p:cNvPr>
          <p:cNvSpPr/>
          <p:nvPr/>
        </p:nvSpPr>
        <p:spPr>
          <a:xfrm>
            <a:off x="905890" y="23707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68E57579-8234-B234-7D03-AF2FDB8AA19A}"/>
              </a:ext>
            </a:extLst>
          </p:cNvPr>
          <p:cNvGraphicFramePr>
            <a:graphicFrameLocks noGrp="1"/>
          </p:cNvGraphicFramePr>
          <p:nvPr>
            <p:extLst>
              <p:ext uri="{D42A27DB-BD31-4B8C-83A1-F6EECF244321}">
                <p14:modId xmlns:p14="http://schemas.microsoft.com/office/powerpoint/2010/main" val="2863054427"/>
              </p:ext>
            </p:extLst>
          </p:nvPr>
        </p:nvGraphicFramePr>
        <p:xfrm>
          <a:off x="503509" y="1382042"/>
          <a:ext cx="6845248" cy="2709904"/>
        </p:xfrm>
        <a:graphic>
          <a:graphicData uri="http://schemas.openxmlformats.org/drawingml/2006/table">
            <a:tbl>
              <a:tblPr firstRow="1" bandRow="1"/>
              <a:tblGrid>
                <a:gridCol w="684524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Diện tích gieo trồng cây lúa theo kế hoạch là 3.660 ha (lúa sạ 888 ha, lúa gieo khô 2.772 ha).</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Đến nay, đã gieo sạ 312 ha tập trung ở các huyện Phù Mỹ, Phù Cá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Hiện nay nông dân đang tiếp tục gieo sạ lúa vụ Mùa</a:t>
                      </a:r>
                      <a:endParaRPr lang="es-ES" sz="2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descr="A machine harvesting a field&#10;&#10;Description automatically generated">
            <a:extLst>
              <a:ext uri="{FF2B5EF4-FFF2-40B4-BE49-F238E27FC236}">
                <a16:creationId xmlns:a16="http://schemas.microsoft.com/office/drawing/2014/main" id="{181F54A4-4E93-E842-848C-B419691AB3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0964" y="1382042"/>
            <a:ext cx="4537920" cy="3025280"/>
          </a:xfrm>
          <a:prstGeom prst="rect">
            <a:avLst/>
          </a:prstGeom>
        </p:spPr>
      </p:pic>
    </p:spTree>
    <p:extLst>
      <p:ext uri="{BB962C8B-B14F-4D97-AF65-F5344CB8AC3E}">
        <p14:creationId xmlns:p14="http://schemas.microsoft.com/office/powerpoint/2010/main" val="90971655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66355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2. </a:t>
            </a:r>
            <a:r>
              <a:rPr lang="en-US" sz="2800" b="1" spc="-20" dirty="0" err="1">
                <a:solidFill>
                  <a:srgbClr val="100717"/>
                </a:solidFill>
                <a:latin typeface="Times New Roman" panose="02020603050405020304" pitchFamily="18" charset="0"/>
                <a:cs typeface="Times New Roman" panose="02020603050405020304" pitchFamily="18" charset="0"/>
              </a:rPr>
              <a:t>Chă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uô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1867011187"/>
              </p:ext>
            </p:extLst>
          </p:nvPr>
        </p:nvGraphicFramePr>
        <p:xfrm>
          <a:off x="313981" y="1655719"/>
          <a:ext cx="5944964" cy="3139440"/>
        </p:xfrm>
        <a:graphic>
          <a:graphicData uri="http://schemas.openxmlformats.org/drawingml/2006/table">
            <a:tbl>
              <a:tblPr firstRow="1" bandRow="1"/>
              <a:tblGrid>
                <a:gridCol w="5944964">
                  <a:extLst>
                    <a:ext uri="{9D8B030D-6E8A-4147-A177-3AD203B41FA5}">
                      <a16:colId xmlns:a16="http://schemas.microsoft.com/office/drawing/2014/main" val="3655493598"/>
                    </a:ext>
                  </a:extLst>
                </a:gridCol>
              </a:tblGrid>
              <a:tr h="19818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nl-NL" sz="2000" b="0" kern="1200">
                          <a:solidFill>
                            <a:schemeClr val="dk1"/>
                          </a:solidFill>
                          <a:effectLst/>
                          <a:latin typeface="Times New Roman" panose="02020603050405020304" pitchFamily="18" charset="0"/>
                          <a:ea typeface="+mn-ea"/>
                          <a:cs typeface="Times New Roman" panose="02020603050405020304" pitchFamily="18" charset="0"/>
                        </a:rPr>
                        <a:t>ình hình chăn nuôi trên địa bàn tỉnh nhìn chung phát triển ổn định</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Giá các sản phẩm chăn nuôi ổn định ở mức bình quân 60.000 đồng/kg đối với lợn, 55.000 đồng/kg đối với gà</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Tình hình dịch bệnh gia súc, gia cầm có xảy ra nhưng chỉ mang tính cục bộ, cơ bản được kiểm soát và xử lý kịp thời, không ảnh hưởng lớn đến công tác chăn nuôi</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descr="Chickens roaming on grass">
            <a:extLst>
              <a:ext uri="{FF2B5EF4-FFF2-40B4-BE49-F238E27FC236}">
                <a16:creationId xmlns:a16="http://schemas.microsoft.com/office/drawing/2014/main" id="{F79F8B07-02C6-AE8E-E88C-91B6272FAAD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568213" y="4699946"/>
            <a:ext cx="2565588" cy="1910256"/>
          </a:xfrm>
          <a:prstGeom prst="rect">
            <a:avLst/>
          </a:prstGeom>
        </p:spPr>
      </p:pic>
      <p:pic>
        <p:nvPicPr>
          <p:cNvPr id="3" name="Picture 2" descr="Litter of piglets huddled on ground lined with straw">
            <a:extLst>
              <a:ext uri="{FF2B5EF4-FFF2-40B4-BE49-F238E27FC236}">
                <a16:creationId xmlns:a16="http://schemas.microsoft.com/office/drawing/2014/main" id="{E14DC8B9-0C33-E61C-74C4-DF153A54C8E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839133" y="4663583"/>
            <a:ext cx="2736867" cy="1955331"/>
          </a:xfrm>
          <a:prstGeom prst="rect">
            <a:avLst/>
          </a:prstGeom>
        </p:spPr>
      </p:pic>
      <p:pic>
        <p:nvPicPr>
          <p:cNvPr id="4" name="Picture 3" descr="A dirt road leading to a building&#10;&#10;Description automatically generated with medium confidence">
            <a:extLst>
              <a:ext uri="{FF2B5EF4-FFF2-40B4-BE49-F238E27FC236}">
                <a16:creationId xmlns:a16="http://schemas.microsoft.com/office/drawing/2014/main" id="{24FDFE24-E1EA-4BCA-E4FC-D27F98620D03}"/>
              </a:ext>
            </a:extLst>
          </p:cNvPr>
          <p:cNvPicPr>
            <a:picLocks noChangeAspect="1"/>
          </p:cNvPicPr>
          <p:nvPr/>
        </p:nvPicPr>
        <p:blipFill>
          <a:blip r:embed="rId4"/>
          <a:stretch>
            <a:fillRect/>
          </a:stretch>
        </p:blipFill>
        <p:spPr>
          <a:xfrm>
            <a:off x="6831632" y="2585183"/>
            <a:ext cx="5281293" cy="2087215"/>
          </a:xfrm>
          <a:prstGeom prst="rect">
            <a:avLst/>
          </a:prstGeom>
        </p:spPr>
      </p:pic>
      <p:sp>
        <p:nvSpPr>
          <p:cNvPr id="5" name="Rectangle: Diagonal Corners Rounded 4">
            <a:extLst>
              <a:ext uri="{FF2B5EF4-FFF2-40B4-BE49-F238E27FC236}">
                <a16:creationId xmlns:a16="http://schemas.microsoft.com/office/drawing/2014/main" id="{CC44C446-F658-3365-894D-66F64D909683}"/>
              </a:ext>
            </a:extLst>
          </p:cNvPr>
          <p:cNvSpPr>
            <a:spLocks/>
          </p:cNvSpPr>
          <p:nvPr/>
        </p:nvSpPr>
        <p:spPr>
          <a:xfrm>
            <a:off x="6752557" y="1399717"/>
            <a:ext cx="5439443" cy="863088"/>
          </a:xfrm>
          <a:prstGeom prst="round2DiagRect">
            <a:avLst/>
          </a:prstGeom>
          <a:solidFill>
            <a:schemeClr val="accent1">
              <a:lumMod val="50000"/>
            </a:schemeClr>
          </a:solidFill>
          <a:ln w="19050">
            <a:solidFill>
              <a:schemeClr val="bg2">
                <a:lumMod val="20000"/>
                <a:lumOff val="80000"/>
              </a:schemeClr>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67" b="1" dirty="0" err="1">
                <a:solidFill>
                  <a:schemeClr val="bg1"/>
                </a:solidFill>
                <a:ea typeface="Times New Roman" panose="02020603050405020304" pitchFamily="18" charset="0"/>
              </a:rPr>
              <a:t>Số</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lượng</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gia</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súc</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gia</a:t>
            </a:r>
            <a:r>
              <a:rPr lang="en-US" sz="1467" b="1" dirty="0">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cầm</a:t>
            </a:r>
            <a:r>
              <a:rPr lang="en-US" sz="1467" b="1">
                <a:solidFill>
                  <a:schemeClr val="bg1"/>
                </a:solidFill>
                <a:ea typeface="Times New Roman" panose="02020603050405020304" pitchFamily="18" charset="0"/>
              </a:rPr>
              <a:t> tháng 7 so với cùng kỳ</a:t>
            </a:r>
            <a:endParaRPr lang="en-US" sz="1467" b="1" dirty="0">
              <a:solidFill>
                <a:schemeClr val="bg1"/>
              </a:solidFill>
              <a:ea typeface="Times New Roman" panose="02020603050405020304" pitchFamily="18" charset="0"/>
            </a:endParaRPr>
          </a:p>
        </p:txBody>
      </p:sp>
      <p:grpSp>
        <p:nvGrpSpPr>
          <p:cNvPr id="7" name="Group 6">
            <a:extLst>
              <a:ext uri="{FF2B5EF4-FFF2-40B4-BE49-F238E27FC236}">
                <a16:creationId xmlns:a16="http://schemas.microsoft.com/office/drawing/2014/main" id="{650A13D4-0663-EDDE-EE07-E5009EE0AC6B}"/>
              </a:ext>
            </a:extLst>
          </p:cNvPr>
          <p:cNvGrpSpPr>
            <a:grpSpLocks/>
          </p:cNvGrpSpPr>
          <p:nvPr/>
        </p:nvGrpSpPr>
        <p:grpSpPr>
          <a:xfrm>
            <a:off x="6823011" y="2626605"/>
            <a:ext cx="1106810" cy="548175"/>
            <a:chOff x="644763" y="2010657"/>
            <a:chExt cx="830108" cy="411131"/>
          </a:xfrm>
        </p:grpSpPr>
        <p:sp>
          <p:nvSpPr>
            <p:cNvPr id="8" name="Rectangle: Rounded Corners 7">
              <a:extLst>
                <a:ext uri="{FF2B5EF4-FFF2-40B4-BE49-F238E27FC236}">
                  <a16:creationId xmlns:a16="http://schemas.microsoft.com/office/drawing/2014/main" id="{A37893A0-1BCA-E87B-A155-987EDA136E59}"/>
                </a:ext>
              </a:extLst>
            </p:cNvPr>
            <p:cNvSpPr>
              <a:spLocks/>
            </p:cNvSpPr>
            <p:nvPr/>
          </p:nvSpPr>
          <p:spPr>
            <a:xfrm>
              <a:off x="644763" y="2010657"/>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10" name="TextBox 9">
              <a:extLst>
                <a:ext uri="{FF2B5EF4-FFF2-40B4-BE49-F238E27FC236}">
                  <a16:creationId xmlns:a16="http://schemas.microsoft.com/office/drawing/2014/main" id="{227DB097-3FB2-40D7-0925-0326025EB481}"/>
                </a:ext>
              </a:extLst>
            </p:cNvPr>
            <p:cNvSpPr txBox="1">
              <a:spLocks/>
            </p:cNvSpPr>
            <p:nvPr/>
          </p:nvSpPr>
          <p:spPr>
            <a:xfrm>
              <a:off x="809785" y="2075539"/>
              <a:ext cx="665086" cy="346249"/>
            </a:xfrm>
            <a:prstGeom prst="rect">
              <a:avLst/>
            </a:prstGeom>
            <a:noFill/>
          </p:spPr>
          <p:txBody>
            <a:bodyPr wrap="none" rtlCol="0">
              <a:spAutoFit/>
            </a:bodyPr>
            <a:lstStyle/>
            <a:p>
              <a:r>
                <a:rPr lang="vi-VN" sz="2400" b="1">
                  <a:solidFill>
                    <a:schemeClr val="accent6">
                      <a:lumMod val="50000"/>
                    </a:schemeClr>
                  </a:solidFill>
                  <a:ea typeface="Times New Roman" panose="02020603050405020304" pitchFamily="18" charset="0"/>
                </a:rPr>
                <a:t>6,9%</a:t>
              </a:r>
              <a:endParaRPr lang="en-US" sz="2400" b="1" dirty="0">
                <a:solidFill>
                  <a:schemeClr val="accent6">
                    <a:lumMod val="50000"/>
                  </a:schemeClr>
                </a:solidFill>
              </a:endParaRPr>
            </a:p>
          </p:txBody>
        </p:sp>
        <p:sp>
          <p:nvSpPr>
            <p:cNvPr id="11" name="Flowchart: Merge 10">
              <a:extLst>
                <a:ext uri="{FF2B5EF4-FFF2-40B4-BE49-F238E27FC236}">
                  <a16:creationId xmlns:a16="http://schemas.microsoft.com/office/drawing/2014/main" id="{F5E464F6-4BBD-BB5A-3294-06D505792198}"/>
                </a:ext>
              </a:extLst>
            </p:cNvPr>
            <p:cNvSpPr>
              <a:spLocks/>
            </p:cNvSpPr>
            <p:nvPr/>
          </p:nvSpPr>
          <p:spPr>
            <a:xfrm>
              <a:off x="708715" y="2165622"/>
              <a:ext cx="165830" cy="127610"/>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2" name="Group 11">
            <a:extLst>
              <a:ext uri="{FF2B5EF4-FFF2-40B4-BE49-F238E27FC236}">
                <a16:creationId xmlns:a16="http://schemas.microsoft.com/office/drawing/2014/main" id="{451C56E1-F977-E747-6BCA-1313DC8E69DB}"/>
              </a:ext>
            </a:extLst>
          </p:cNvPr>
          <p:cNvGrpSpPr>
            <a:grpSpLocks/>
          </p:cNvGrpSpPr>
          <p:nvPr/>
        </p:nvGrpSpPr>
        <p:grpSpPr>
          <a:xfrm>
            <a:off x="6881981" y="5968119"/>
            <a:ext cx="1098954" cy="566333"/>
            <a:chOff x="611028" y="3768325"/>
            <a:chExt cx="824215" cy="424750"/>
          </a:xfrm>
        </p:grpSpPr>
        <p:sp>
          <p:nvSpPr>
            <p:cNvPr id="13" name="Rectangle: Rounded Corners 12">
              <a:extLst>
                <a:ext uri="{FF2B5EF4-FFF2-40B4-BE49-F238E27FC236}">
                  <a16:creationId xmlns:a16="http://schemas.microsoft.com/office/drawing/2014/main" id="{9EB8BA1B-838B-73B4-0866-7AE7EF15BCA5}"/>
                </a:ext>
              </a:extLst>
            </p:cNvPr>
            <p:cNvSpPr>
              <a:spLocks/>
            </p:cNvSpPr>
            <p:nvPr/>
          </p:nvSpPr>
          <p:spPr>
            <a:xfrm>
              <a:off x="611028" y="3768325"/>
              <a:ext cx="738469" cy="41177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14" name="TextBox 13">
              <a:extLst>
                <a:ext uri="{FF2B5EF4-FFF2-40B4-BE49-F238E27FC236}">
                  <a16:creationId xmlns:a16="http://schemas.microsoft.com/office/drawing/2014/main" id="{23F91A73-69FB-468C-7902-79C6386C5767}"/>
                </a:ext>
              </a:extLst>
            </p:cNvPr>
            <p:cNvSpPr txBox="1">
              <a:spLocks/>
            </p:cNvSpPr>
            <p:nvPr/>
          </p:nvSpPr>
          <p:spPr>
            <a:xfrm>
              <a:off x="770158" y="3846826"/>
              <a:ext cx="665085" cy="346249"/>
            </a:xfrm>
            <a:prstGeom prst="rect">
              <a:avLst/>
            </a:prstGeom>
            <a:noFill/>
          </p:spPr>
          <p:txBody>
            <a:bodyPr wrap="none" rtlCol="0">
              <a:spAutoFit/>
            </a:bodyPr>
            <a:lstStyle/>
            <a:p>
              <a:r>
                <a:rPr lang="vi-VN" sz="2400" b="1">
                  <a:solidFill>
                    <a:schemeClr val="accent6">
                      <a:lumMod val="50000"/>
                    </a:schemeClr>
                  </a:solidFill>
                  <a:ea typeface="Times New Roman" panose="02020603050405020304" pitchFamily="18" charset="0"/>
                </a:rPr>
                <a:t>2,5%</a:t>
              </a:r>
              <a:endParaRPr lang="en-US" sz="2400" b="1" dirty="0">
                <a:solidFill>
                  <a:schemeClr val="accent6">
                    <a:lumMod val="50000"/>
                  </a:schemeClr>
                </a:solidFill>
              </a:endParaRPr>
            </a:p>
          </p:txBody>
        </p:sp>
      </p:grpSp>
      <p:grpSp>
        <p:nvGrpSpPr>
          <p:cNvPr id="15" name="Group 14">
            <a:extLst>
              <a:ext uri="{FF2B5EF4-FFF2-40B4-BE49-F238E27FC236}">
                <a16:creationId xmlns:a16="http://schemas.microsoft.com/office/drawing/2014/main" id="{3E59758D-0B32-E4AB-BC59-7A4C89C7BFF4}"/>
              </a:ext>
            </a:extLst>
          </p:cNvPr>
          <p:cNvGrpSpPr>
            <a:grpSpLocks/>
          </p:cNvGrpSpPr>
          <p:nvPr/>
        </p:nvGrpSpPr>
        <p:grpSpPr>
          <a:xfrm>
            <a:off x="9604237" y="5971565"/>
            <a:ext cx="1762845" cy="505216"/>
            <a:chOff x="2663722" y="3768325"/>
            <a:chExt cx="1026422" cy="378912"/>
          </a:xfrm>
        </p:grpSpPr>
        <p:sp>
          <p:nvSpPr>
            <p:cNvPr id="16" name="Rectangle: Rounded Corners 15">
              <a:extLst>
                <a:ext uri="{FF2B5EF4-FFF2-40B4-BE49-F238E27FC236}">
                  <a16:creationId xmlns:a16="http://schemas.microsoft.com/office/drawing/2014/main" id="{FAA34A13-CEAD-4CA9-9D32-3CD99A21BE53}"/>
                </a:ext>
              </a:extLst>
            </p:cNvPr>
            <p:cNvSpPr>
              <a:spLocks/>
            </p:cNvSpPr>
            <p:nvPr/>
          </p:nvSpPr>
          <p:spPr>
            <a:xfrm>
              <a:off x="2663722" y="3768325"/>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17" name="Isosceles Triangle 16">
              <a:extLst>
                <a:ext uri="{FF2B5EF4-FFF2-40B4-BE49-F238E27FC236}">
                  <a16:creationId xmlns:a16="http://schemas.microsoft.com/office/drawing/2014/main" id="{C179E8AD-D1FB-2DF6-9EBD-12AE17AA82B2}"/>
                </a:ext>
              </a:extLst>
            </p:cNvPr>
            <p:cNvSpPr>
              <a:spLocks/>
            </p:cNvSpPr>
            <p:nvPr/>
          </p:nvSpPr>
          <p:spPr>
            <a:xfrm>
              <a:off x="2722697" y="3912509"/>
              <a:ext cx="164361" cy="13121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0000"/>
                </a:solidFill>
              </a:endParaRPr>
            </a:p>
          </p:txBody>
        </p:sp>
        <p:sp>
          <p:nvSpPr>
            <p:cNvPr id="18" name="TextBox 17">
              <a:extLst>
                <a:ext uri="{FF2B5EF4-FFF2-40B4-BE49-F238E27FC236}">
                  <a16:creationId xmlns:a16="http://schemas.microsoft.com/office/drawing/2014/main" id="{A9B23CA5-E8F1-3037-DA7C-5378EE54AB29}"/>
                </a:ext>
              </a:extLst>
            </p:cNvPr>
            <p:cNvSpPr txBox="1">
              <a:spLocks/>
            </p:cNvSpPr>
            <p:nvPr/>
          </p:nvSpPr>
          <p:spPr>
            <a:xfrm>
              <a:off x="2712551" y="3784656"/>
              <a:ext cx="977593" cy="346249"/>
            </a:xfrm>
            <a:prstGeom prst="rect">
              <a:avLst/>
            </a:prstGeom>
            <a:noFill/>
          </p:spPr>
          <p:txBody>
            <a:bodyPr wrap="square" rtlCol="0">
              <a:spAutoFit/>
            </a:bodyPr>
            <a:lstStyle/>
            <a:p>
              <a:r>
                <a:rPr lang="en-US" sz="2400" b="1">
                  <a:solidFill>
                    <a:schemeClr val="accent6">
                      <a:lumMod val="50000"/>
                    </a:schemeClr>
                  </a:solidFill>
                  <a:ea typeface="Times New Roman" panose="02020603050405020304" pitchFamily="18" charset="0"/>
                </a:rPr>
                <a:t> </a:t>
              </a:r>
              <a:r>
                <a:rPr lang="vi-VN" sz="2400" b="1">
                  <a:solidFill>
                    <a:schemeClr val="accent6">
                      <a:lumMod val="50000"/>
                    </a:schemeClr>
                  </a:solidFill>
                  <a:ea typeface="Times New Roman" panose="02020603050405020304" pitchFamily="18" charset="0"/>
                </a:rPr>
                <a:t> 11%</a:t>
              </a:r>
              <a:endParaRPr lang="en-US" sz="2400" b="1" dirty="0">
                <a:solidFill>
                  <a:schemeClr val="accent6">
                    <a:lumMod val="50000"/>
                  </a:schemeClr>
                </a:solidFill>
              </a:endParaRPr>
            </a:p>
          </p:txBody>
        </p:sp>
      </p:grpSp>
      <p:pic>
        <p:nvPicPr>
          <p:cNvPr id="19" name="Picture 18" descr="Cows outdoor">
            <a:extLst>
              <a:ext uri="{FF2B5EF4-FFF2-40B4-BE49-F238E27FC236}">
                <a16:creationId xmlns:a16="http://schemas.microsoft.com/office/drawing/2014/main" id="{60A79E5F-F430-FEAB-7A1B-00BAB71E1022}"/>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397323" y="2900693"/>
            <a:ext cx="2703412" cy="1790540"/>
          </a:xfrm>
          <a:prstGeom prst="rect">
            <a:avLst/>
          </a:prstGeom>
          <a:ln>
            <a:noFill/>
          </a:ln>
          <a:effectLst>
            <a:softEdge rad="112500"/>
          </a:effectLst>
        </p:spPr>
      </p:pic>
      <p:grpSp>
        <p:nvGrpSpPr>
          <p:cNvPr id="20" name="Group 19">
            <a:extLst>
              <a:ext uri="{FF2B5EF4-FFF2-40B4-BE49-F238E27FC236}">
                <a16:creationId xmlns:a16="http://schemas.microsoft.com/office/drawing/2014/main" id="{FBBDC10C-79A1-ED2E-25B5-0A32CE3CF307}"/>
              </a:ext>
            </a:extLst>
          </p:cNvPr>
          <p:cNvGrpSpPr>
            <a:grpSpLocks/>
          </p:cNvGrpSpPr>
          <p:nvPr/>
        </p:nvGrpSpPr>
        <p:grpSpPr>
          <a:xfrm>
            <a:off x="9628736" y="2721582"/>
            <a:ext cx="1207237" cy="505216"/>
            <a:chOff x="3527813" y="2023506"/>
            <a:chExt cx="905428" cy="378912"/>
          </a:xfrm>
        </p:grpSpPr>
        <p:sp>
          <p:nvSpPr>
            <p:cNvPr id="21" name="Rectangle: Rounded Corners 20">
              <a:extLst>
                <a:ext uri="{FF2B5EF4-FFF2-40B4-BE49-F238E27FC236}">
                  <a16:creationId xmlns:a16="http://schemas.microsoft.com/office/drawing/2014/main" id="{9987160C-BD1D-F0EE-81CF-CCD311D08BC3}"/>
                </a:ext>
              </a:extLst>
            </p:cNvPr>
            <p:cNvSpPr>
              <a:spLocks/>
            </p:cNvSpPr>
            <p:nvPr/>
          </p:nvSpPr>
          <p:spPr>
            <a:xfrm>
              <a:off x="3527813" y="2023506"/>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22" name="TextBox 21">
              <a:extLst>
                <a:ext uri="{FF2B5EF4-FFF2-40B4-BE49-F238E27FC236}">
                  <a16:creationId xmlns:a16="http://schemas.microsoft.com/office/drawing/2014/main" id="{F15E75EA-D26B-7DF9-0998-35B96AE81810}"/>
                </a:ext>
              </a:extLst>
            </p:cNvPr>
            <p:cNvSpPr txBox="1">
              <a:spLocks/>
            </p:cNvSpPr>
            <p:nvPr/>
          </p:nvSpPr>
          <p:spPr>
            <a:xfrm>
              <a:off x="3757378" y="2084807"/>
              <a:ext cx="675863" cy="300083"/>
            </a:xfrm>
            <a:prstGeom prst="rect">
              <a:avLst/>
            </a:prstGeom>
            <a:noFill/>
          </p:spPr>
          <p:txBody>
            <a:bodyPr wrap="square" rtlCol="0">
              <a:spAutoFit/>
            </a:bodyPr>
            <a:lstStyle/>
            <a:p>
              <a:r>
                <a:rPr lang="vi-VN" sz="2000" b="1">
                  <a:solidFill>
                    <a:schemeClr val="accent6">
                      <a:lumMod val="50000"/>
                    </a:schemeClr>
                  </a:solidFill>
                  <a:ea typeface="Times New Roman" panose="02020603050405020304" pitchFamily="18" charset="0"/>
                </a:rPr>
                <a:t>3,1%</a:t>
              </a:r>
              <a:endParaRPr lang="en-US" sz="2000" b="1" dirty="0">
                <a:solidFill>
                  <a:schemeClr val="accent6">
                    <a:lumMod val="50000"/>
                  </a:schemeClr>
                </a:solidFill>
              </a:endParaRPr>
            </a:p>
          </p:txBody>
        </p:sp>
        <p:sp>
          <p:nvSpPr>
            <p:cNvPr id="23" name="Isosceles Triangle 22">
              <a:extLst>
                <a:ext uri="{FF2B5EF4-FFF2-40B4-BE49-F238E27FC236}">
                  <a16:creationId xmlns:a16="http://schemas.microsoft.com/office/drawing/2014/main" id="{EC55689E-EE92-9948-874F-99F91CF85A12}"/>
                </a:ext>
              </a:extLst>
            </p:cNvPr>
            <p:cNvSpPr>
              <a:spLocks/>
            </p:cNvSpPr>
            <p:nvPr/>
          </p:nvSpPr>
          <p:spPr>
            <a:xfrm>
              <a:off x="3614919" y="2157839"/>
              <a:ext cx="164361" cy="13121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0000"/>
                </a:solidFill>
              </a:endParaRPr>
            </a:p>
          </p:txBody>
        </p:sp>
      </p:grpSp>
      <p:pic>
        <p:nvPicPr>
          <p:cNvPr id="24" name="Picture 23" descr="A group of cows&#10;&#10;Description automatically generated with low confidence">
            <a:extLst>
              <a:ext uri="{FF2B5EF4-FFF2-40B4-BE49-F238E27FC236}">
                <a16:creationId xmlns:a16="http://schemas.microsoft.com/office/drawing/2014/main" id="{E26011C3-4AC8-18A6-249B-8E2800F442FD}"/>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380177" y="3047722"/>
            <a:ext cx="2145198" cy="1507464"/>
          </a:xfrm>
          <a:prstGeom prst="rect">
            <a:avLst/>
          </a:prstGeom>
        </p:spPr>
      </p:pic>
      <p:sp>
        <p:nvSpPr>
          <p:cNvPr id="26" name="Isosceles Triangle 25">
            <a:extLst>
              <a:ext uri="{FF2B5EF4-FFF2-40B4-BE49-F238E27FC236}">
                <a16:creationId xmlns:a16="http://schemas.microsoft.com/office/drawing/2014/main" id="{BFDA0A18-2556-65A1-122D-26BD71CBB224}"/>
              </a:ext>
            </a:extLst>
          </p:cNvPr>
          <p:cNvSpPr>
            <a:spLocks/>
          </p:cNvSpPr>
          <p:nvPr/>
        </p:nvSpPr>
        <p:spPr>
          <a:xfrm>
            <a:off x="6919225" y="6216145"/>
            <a:ext cx="219148" cy="174947"/>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0000"/>
              </a:solidFill>
            </a:endParaRPr>
          </a:p>
        </p:txBody>
      </p:sp>
    </p:spTree>
    <p:extLst>
      <p:ext uri="{BB962C8B-B14F-4D97-AF65-F5344CB8AC3E}">
        <p14:creationId xmlns:p14="http://schemas.microsoft.com/office/powerpoint/2010/main" val="177507347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992314333"/>
              </p:ext>
            </p:extLst>
          </p:nvPr>
        </p:nvGraphicFramePr>
        <p:xfrm>
          <a:off x="548081" y="1312224"/>
          <a:ext cx="6758555" cy="2987040"/>
        </p:xfrm>
        <a:graphic>
          <a:graphicData uri="http://schemas.openxmlformats.org/drawingml/2006/table">
            <a:tbl>
              <a:tblPr firstRow="1" bandRow="1"/>
              <a:tblGrid>
                <a:gridCol w="67585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1800" b="0" kern="1200">
                          <a:solidFill>
                            <a:schemeClr val="dk1"/>
                          </a:solidFill>
                          <a:effectLst/>
                          <a:latin typeface="Times New Roman" panose="02020603050405020304" pitchFamily="18" charset="0"/>
                          <a:ea typeface="+mn-ea"/>
                          <a:cs typeface="Times New Roman" panose="02020603050405020304" pitchFamily="18" charset="0"/>
                        </a:rPr>
                        <a:t>Triển khai quyết liệt các biện pháp để quản lý, bảo vệ rừng; xây dựng phương án phòng cháy chữa cháy rừng trong mùa khô; ngăn chặn triệt để tình trạng lấn, chiếm đất lâm nghiệp và khai thác lâm sản trái phép</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Tiếp tục mời </a:t>
                      </a:r>
                      <a:r>
                        <a:rPr lang="pt-BR" sz="1800" b="0" kern="1200">
                          <a:solidFill>
                            <a:schemeClr val="dk1"/>
                          </a:solidFill>
                          <a:effectLst/>
                          <a:latin typeface="Times New Roman" panose="02020603050405020304" pitchFamily="18" charset="0"/>
                          <a:ea typeface="+mn-ea"/>
                          <a:cs typeface="Times New Roman" panose="02020603050405020304" pitchFamily="18" charset="0"/>
                        </a:rPr>
                        <a:t>gọi</a:t>
                      </a:r>
                      <a:r>
                        <a:rPr lang="vi-VN" sz="1800" b="0" kern="120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1800" b="0" kern="1200">
                          <a:solidFill>
                            <a:schemeClr val="dk1"/>
                          </a:solidFill>
                          <a:effectLst/>
                          <a:latin typeface="Times New Roman" panose="02020603050405020304" pitchFamily="18" charset="0"/>
                          <a:ea typeface="+mn-ea"/>
                          <a:cs typeface="Times New Roman" panose="02020603050405020304" pitchFamily="18" charset="0"/>
                        </a:rPr>
                        <a:t>p</a:t>
                      </a:r>
                      <a:r>
                        <a:rPr lang="vi-VN" sz="1800" b="0" kern="1200">
                          <a:solidFill>
                            <a:schemeClr val="dk1"/>
                          </a:solidFill>
                          <a:effectLst/>
                          <a:latin typeface="Times New Roman" panose="02020603050405020304" pitchFamily="18" charset="0"/>
                          <a:ea typeface="+mn-ea"/>
                          <a:cs typeface="Times New Roman" panose="02020603050405020304" pitchFamily="18" charset="0"/>
                        </a:rPr>
                        <a:t> chế biến gỗ</a:t>
                      </a:r>
                      <a:r>
                        <a:rPr lang="pt-BR" sz="1800" b="0" kern="120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1800" b="0" kern="120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1800" b="0" kern="1200">
                          <a:solidFill>
                            <a:schemeClr val="dk1"/>
                          </a:solidFill>
                          <a:effectLst/>
                          <a:latin typeface="Times New Roman" panose="02020603050405020304" pitchFamily="18" charset="0"/>
                          <a:ea typeface="+mn-ea"/>
                          <a:cs typeface="Times New Roman" panose="02020603050405020304" pitchFamily="18" charset="0"/>
                        </a:rPr>
                        <a:t>để phát triển vùng nguyên liệu gỗ</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48081" y="455589"/>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886523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257</TotalTime>
  <Words>4455</Words>
  <Application>Microsoft Office PowerPoint</Application>
  <PresentationFormat>Widescreen</PresentationFormat>
  <Paragraphs>251</Paragraphs>
  <Slides>40</Slides>
  <Notes>1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40</vt:i4>
      </vt:variant>
    </vt:vector>
  </HeadingPairs>
  <TitlesOfParts>
    <vt:vector size="53" baseType="lpstr">
      <vt:lpstr>ＭＳ Ｐゴシック</vt:lpstr>
      <vt:lpstr>Arial</vt:lpstr>
      <vt:lpstr>Calibri</vt:lpstr>
      <vt:lpstr>Calibri Light</vt:lpstr>
      <vt:lpstr>Segoe UI</vt:lpstr>
      <vt:lpstr>Symbol</vt:lpstr>
      <vt:lpstr>Times New Roman</vt:lpstr>
      <vt:lpstr>Verdana</vt:lpstr>
      <vt:lpstr>Wingdings</vt:lpstr>
      <vt:lpstr>Office Theme</vt:lpstr>
      <vt:lpstr>12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463</cp:revision>
  <cp:lastPrinted>2023-02-15T11:16:09Z</cp:lastPrinted>
  <dcterms:created xsi:type="dcterms:W3CDTF">2021-10-19T01:28:52Z</dcterms:created>
  <dcterms:modified xsi:type="dcterms:W3CDTF">2023-07-26T03:28:47Z</dcterms:modified>
</cp:coreProperties>
</file>